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147483622" r:id="rId2"/>
  </p:sldIdLst>
  <p:sldSz cx="6858000" cy="9144000" type="letter"/>
  <p:notesSz cx="7102475" cy="93884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57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698C9A4-81EB-803C-B10D-39B947DE3007}" name="Trusty, Michelle (GE Aerospace, US)" initials="TM(AU" userId="S::223134973@ge.com::46795d58-0a27-4f0d-9a8b-3bbe539d904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3C"/>
    <a:srgbClr val="0AD64F"/>
    <a:srgbClr val="4181FF"/>
    <a:srgbClr val="00003D"/>
    <a:srgbClr val="133765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3792" autoAdjust="0"/>
  </p:normalViewPr>
  <p:slideViewPr>
    <p:cSldViewPr snapToGrid="0" snapToObjects="1" showGuides="1">
      <p:cViewPr>
        <p:scale>
          <a:sx n="82" d="100"/>
          <a:sy n="82" d="100"/>
        </p:scale>
        <p:origin x="1540" y="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76" d="100"/>
          <a:sy n="76" d="100"/>
        </p:scale>
        <p:origin x="3312" y="192"/>
      </p:cViewPr>
      <p:guideLst>
        <p:guide orient="horz" pos="2957"/>
        <p:guide pos="223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Relationship Id="rId9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6BFB6B6-4E7A-A445-A373-70EB82AD093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9532A8-4888-A64E-B2D1-7642670E089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9D945F3F-4280-4241-A55C-C635F11CFA20}" type="datetimeFigureOut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12/19/202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2E0019-9C88-8740-9DC7-43CA22CBDDF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AA7054-C658-7843-B285-432D0AAA0C2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F257917D-67DC-8946-9800-8E4AAAAFFC67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66155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FAC1BD85-E95E-8D4A-AD03-7D116C880F45}" type="datetimeFigureOut">
              <a:rPr lang="en-US"/>
              <a:pPr/>
              <a:t>12/19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62200" y="1173163"/>
            <a:ext cx="2378075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518204"/>
            <a:ext cx="5681980" cy="369671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 b="0" i="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 b="0" i="0">
                <a:latin typeface="Arial" panose="020B0604020202020204" pitchFamily="34" charset="0"/>
              </a:defRPr>
            </a:lvl1pPr>
          </a:lstStyle>
          <a:p>
            <a:fld id="{F4BFF387-9D57-4C4A-857D-AC6507407006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05177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137160" indent="-137160" algn="l" defTabSz="914400" rtl="0" eaLnBrk="1" latinLnBrk="0" hangingPunct="1">
      <a:buFont typeface="System Font Regular"/>
      <a:buChar char="–"/>
      <a:tabLst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274320" indent="-137160" algn="l" defTabSz="914400" rtl="0" eaLnBrk="1" latinLnBrk="0" hangingPunct="1">
      <a:buFont typeface="System Font Regular"/>
      <a:buChar char="–"/>
      <a:tabLst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411480" indent="-137160" algn="l" defTabSz="914400" rtl="0" eaLnBrk="1" latinLnBrk="0" hangingPunct="1">
      <a:buFont typeface="System Font Regular"/>
      <a:buChar char="–"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548640" indent="-137160" algn="l" defTabSz="914400" rtl="0" eaLnBrk="1" latinLnBrk="0" hangingPunct="1">
      <a:buFont typeface="System Font Regular"/>
      <a:buChar char="–"/>
      <a:defRPr sz="1200" b="0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0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E390D8-FB2D-714E-887C-226EFBAA75C4}"/>
              </a:ext>
            </a:extLst>
          </p:cNvPr>
          <p:cNvCxnSpPr/>
          <p:nvPr userDrawn="1"/>
        </p:nvCxnSpPr>
        <p:spPr>
          <a:xfrm>
            <a:off x="314325" y="3767667"/>
            <a:ext cx="144018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370033-E5A1-7B48-AE34-D9C6694ED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0075" y="8657168"/>
            <a:ext cx="2571750" cy="486833"/>
          </a:xfrm>
        </p:spPr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BBD7296-A283-1446-A433-EC8C6228A4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444" y="283634"/>
            <a:ext cx="1465898" cy="12442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14E021-5666-C143-A40F-6113F80F8F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0075" y="3170768"/>
            <a:ext cx="6022181" cy="2620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9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2F35A6-FF25-0745-8AB1-FA8EE7D66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0075" y="5791200"/>
            <a:ext cx="6022181" cy="1299633"/>
          </a:xfrm>
        </p:spPr>
        <p:txBody>
          <a:bodyPr>
            <a:noAutofit/>
          </a:bodyPr>
          <a:lstStyle>
            <a:lvl1pPr marL="0" indent="0" algn="l">
              <a:spcAft>
                <a:spcPts val="533"/>
              </a:spcAft>
              <a:buNone/>
              <a:defRPr sz="24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7C92763-31D1-CF04-F985-6DAC52244DAB}"/>
              </a:ext>
            </a:extLst>
          </p:cNvPr>
          <p:cNvCxnSpPr/>
          <p:nvPr userDrawn="1"/>
        </p:nvCxnSpPr>
        <p:spPr>
          <a:xfrm>
            <a:off x="314325" y="5967528"/>
            <a:ext cx="144018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31907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78" userDrawn="1">
          <p15:clr>
            <a:srgbClr val="FBAE40"/>
          </p15:clr>
        </p15:guide>
        <p15:guide id="2" orient="horz" pos="1997" userDrawn="1">
          <p15:clr>
            <a:srgbClr val="FBAE40"/>
          </p15:clr>
        </p15:guide>
        <p15:guide id="3" orient="horz" pos="3648" userDrawn="1">
          <p15:clr>
            <a:srgbClr val="FBAE40"/>
          </p15:clr>
        </p15:guide>
        <p15:guide id="4" pos="189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B5BA6-6E37-D642-969A-D710BEC279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744" y="1871133"/>
            <a:ext cx="1969961" cy="64092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48D7D23-A4AE-A948-B404-C89F45ED35B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2366178" y="1871135"/>
            <a:ext cx="1969961" cy="64092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C934C23-704D-AE40-866D-BF6B0DCFEA7C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494210" y="1871135"/>
            <a:ext cx="1969961" cy="64092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21405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91" userDrawn="1">
          <p15:clr>
            <a:srgbClr val="FBAE40"/>
          </p15:clr>
        </p15:guide>
        <p15:guide id="2" pos="2829" userDrawn="1">
          <p15:clr>
            <a:srgbClr val="FBAE40"/>
          </p15:clr>
        </p15:guide>
        <p15:guide id="3" orient="horz" pos="1179" userDrawn="1">
          <p15:clr>
            <a:srgbClr val="FBAE40"/>
          </p15:clr>
        </p15:guide>
        <p15:guide id="4" orient="horz" pos="521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B5BA6-6E37-D642-969A-D710BEC279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743" y="1871133"/>
            <a:ext cx="1445324" cy="64092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48D7D23-A4AE-A948-B404-C89F45ED35B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835943" y="1871133"/>
            <a:ext cx="1445324" cy="64092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1F40F60-BBD9-9E4F-84D2-0B668EDB169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429000" y="1871134"/>
            <a:ext cx="1445324" cy="64092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AA94E17-ACE2-234E-94FB-6DBEE6BAF77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025628" y="1871134"/>
            <a:ext cx="1445324" cy="64092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6450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57" userDrawn="1">
          <p15:clr>
            <a:srgbClr val="FBAE40"/>
          </p15:clr>
        </p15:guide>
        <p15:guide id="2" pos="3166" userDrawn="1">
          <p15:clr>
            <a:srgbClr val="FBAE40"/>
          </p15:clr>
        </p15:guide>
        <p15:guide id="3" pos="2160" userDrawn="1">
          <p15:clr>
            <a:srgbClr val="FBAE40"/>
          </p15:clr>
        </p15:guide>
        <p15:guide id="4" orient="horz" pos="1179" userDrawn="1">
          <p15:clr>
            <a:srgbClr val="FBAE40"/>
          </p15:clr>
        </p15:guide>
        <p15:guide id="5" orient="horz" pos="521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-1/3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B5BA6-6E37-D642-969A-D710BEC279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744" y="1871133"/>
            <a:ext cx="4102298" cy="64092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C934C23-704D-AE40-866D-BF6B0DCFEA7C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494210" y="1871134"/>
            <a:ext cx="1969961" cy="64092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3160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29" userDrawn="1">
          <p15:clr>
            <a:srgbClr val="FBAE40"/>
          </p15:clr>
        </p15:guide>
        <p15:guide id="3" orient="horz" pos="1179" userDrawn="1">
          <p15:clr>
            <a:srgbClr val="FBAE40"/>
          </p15:clr>
        </p15:guide>
        <p15:guide id="4" orient="horz" pos="5216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Column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BB168A5-C2D7-FC4B-8832-1F289E900E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5744" y="1871133"/>
            <a:ext cx="6386513" cy="922867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B5BA6-6E37-D642-969A-D710BEC279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744" y="2794000"/>
            <a:ext cx="6386513" cy="548640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4126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60" userDrawn="1">
          <p15:clr>
            <a:srgbClr val="FBAE40"/>
          </p15:clr>
        </p15:guide>
        <p15:guide id="2" orient="horz" pos="1179" userDrawn="1">
          <p15:clr>
            <a:srgbClr val="FBAE40"/>
          </p15:clr>
        </p15:guide>
        <p15:guide id="3" orient="horz" pos="5216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D6DDDB0A-C694-6D4F-95F6-714A8D0B4F2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5743" y="1871133"/>
            <a:ext cx="3034665" cy="922867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D926142-7B75-6D42-854B-61C11884F2E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29000" y="1871133"/>
            <a:ext cx="3034665" cy="922867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B5BA6-6E37-D642-969A-D710BEC279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744" y="2794001"/>
            <a:ext cx="3034665" cy="548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48D7D23-A4AE-A948-B404-C89F45ED35B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29000" y="2794002"/>
            <a:ext cx="3034665" cy="5486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2102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60" userDrawn="1">
          <p15:clr>
            <a:srgbClr val="FBAE40"/>
          </p15:clr>
        </p15:guide>
        <p15:guide id="2" pos="2160" userDrawn="1">
          <p15:clr>
            <a:srgbClr val="FBAE40"/>
          </p15:clr>
        </p15:guide>
        <p15:guide id="3" orient="horz" pos="1179" userDrawn="1">
          <p15:clr>
            <a:srgbClr val="FBAE40"/>
          </p15:clr>
        </p15:guide>
        <p15:guide id="4" orient="horz" pos="521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56C95D67-F3C4-3D4F-B32A-CBAC6F0CB33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35744" y="1871133"/>
            <a:ext cx="1969961" cy="922867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D582616C-16AA-D245-94C9-5BE602638B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66367" y="1871133"/>
            <a:ext cx="1969961" cy="922867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A9A19A4-818C-F14A-B5DE-B0DB0C798C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94210" y="1871133"/>
            <a:ext cx="1969961" cy="922867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B5BA6-6E37-D642-969A-D710BEC279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744" y="2794001"/>
            <a:ext cx="1969961" cy="5486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48D7D23-A4AE-A948-B404-C89F45ED35B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2366178" y="2794001"/>
            <a:ext cx="1969961" cy="548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C934C23-704D-AE40-866D-BF6B0DCFEA7C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494210" y="2794001"/>
            <a:ext cx="1969961" cy="548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1891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91" userDrawn="1">
          <p15:clr>
            <a:srgbClr val="FBAE40"/>
          </p15:clr>
        </p15:guide>
        <p15:guide id="2" pos="2829" userDrawn="1">
          <p15:clr>
            <a:srgbClr val="FBAE40"/>
          </p15:clr>
        </p15:guide>
        <p15:guide id="3" orient="horz" pos="1760" userDrawn="1">
          <p15:clr>
            <a:srgbClr val="FBAE40"/>
          </p15:clr>
        </p15:guide>
        <p15:guide id="4" orient="horz" pos="1179" userDrawn="1">
          <p15:clr>
            <a:srgbClr val="FBAE40"/>
          </p15:clr>
        </p15:guide>
        <p15:guide id="5" orient="horz" pos="5216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38E406E3-70F2-E545-A33D-5568AFC002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5744" y="1871133"/>
            <a:ext cx="1445324" cy="922867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0725E2CD-DECE-0044-B355-7C6EB47D330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35944" y="1871133"/>
            <a:ext cx="1445324" cy="922867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6BD7BAE8-2C7F-FA45-8EFC-9F725704CA2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29000" y="1871133"/>
            <a:ext cx="1445324" cy="922867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623A3DB9-8116-4C4F-A39D-673A5EB91A2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025628" y="1871133"/>
            <a:ext cx="1445324" cy="922867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B5BA6-6E37-D642-969A-D710BEC279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743" y="2794002"/>
            <a:ext cx="1445324" cy="5486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48D7D23-A4AE-A948-B404-C89F45ED35B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835943" y="2794002"/>
            <a:ext cx="1445323" cy="5486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1F40F60-BBD9-9E4F-84D2-0B668EDB169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429000" y="2794001"/>
            <a:ext cx="1445324" cy="548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AA94E17-ACE2-234E-94FB-6DBEE6BAF77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025628" y="2794001"/>
            <a:ext cx="1445324" cy="548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71587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60" userDrawn="1">
          <p15:clr>
            <a:srgbClr val="FBAE40"/>
          </p15:clr>
        </p15:guide>
        <p15:guide id="2" pos="3166" userDrawn="1">
          <p15:clr>
            <a:srgbClr val="FBAE40"/>
          </p15:clr>
        </p15:guide>
        <p15:guide id="3" pos="1157" userDrawn="1">
          <p15:clr>
            <a:srgbClr val="FBAE40"/>
          </p15:clr>
        </p15:guide>
        <p15:guide id="4" pos="2160" userDrawn="1">
          <p15:clr>
            <a:srgbClr val="FBAE40"/>
          </p15:clr>
        </p15:guide>
        <p15:guide id="5" orient="horz" pos="1179" userDrawn="1">
          <p15:clr>
            <a:srgbClr val="FBAE40"/>
          </p15:clr>
        </p15:guide>
        <p15:guide id="6" orient="horz" pos="5216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-1/3-Column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6A24B364-E635-8148-9DBE-C364F1D3BC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5743" y="1871133"/>
            <a:ext cx="4104513" cy="922867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265EA83-2EC6-BE4F-96E1-74D20B473B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00562" y="1871133"/>
            <a:ext cx="1969961" cy="922867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B5BA6-6E37-D642-969A-D710BEC279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743" y="2794002"/>
            <a:ext cx="4104513" cy="54863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C934C23-704D-AE40-866D-BF6B0DCFEA7C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00561" y="2794001"/>
            <a:ext cx="1969961" cy="548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6879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35" userDrawn="1">
          <p15:clr>
            <a:srgbClr val="FBAE40"/>
          </p15:clr>
        </p15:guide>
        <p15:guide id="3" orient="horz" pos="1760" userDrawn="1">
          <p15:clr>
            <a:srgbClr val="FBAE40"/>
          </p15:clr>
        </p15:guide>
        <p15:guide id="4" orient="horz" pos="1179" userDrawn="1">
          <p15:clr>
            <a:srgbClr val="FBAE40"/>
          </p15:clr>
        </p15:guide>
        <p15:guide id="5" orient="horz" pos="5216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-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B5BA6-6E37-D642-969A-D710BEC27905}"/>
              </a:ext>
            </a:extLst>
          </p:cNvPr>
          <p:cNvSpPr>
            <a:spLocks noGrp="1"/>
          </p:cNvSpPr>
          <p:nvPr>
            <p:ph idx="1"/>
          </p:nvPr>
        </p:nvSpPr>
        <p:spPr>
          <a:solidFill>
            <a:schemeClr val="bg2"/>
          </a:solidFill>
        </p:spPr>
        <p:txBody>
          <a:bodyPr lIns="182880" tIns="182880" rIns="182880" bIns="18288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866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9" userDrawn="1">
          <p15:clr>
            <a:srgbClr val="FBAE40"/>
          </p15:clr>
        </p15:guide>
        <p15:guide id="2" orient="horz" pos="521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-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B5BA6-6E37-D642-969A-D710BEC279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744" y="1871133"/>
            <a:ext cx="3034665" cy="6409268"/>
          </a:xfrm>
          <a:solidFill>
            <a:schemeClr val="bg2"/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48D7D23-A4AE-A948-B404-C89F45ED35B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29000" y="1871133"/>
            <a:ext cx="3034665" cy="6409268"/>
          </a:xfrm>
          <a:solidFill>
            <a:schemeClr val="bg2"/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7206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0" userDrawn="1">
          <p15:clr>
            <a:srgbClr val="FBAE40"/>
          </p15:clr>
        </p15:guide>
        <p15:guide id="2" orient="horz" pos="1179" userDrawn="1">
          <p15:clr>
            <a:srgbClr val="FBAE40"/>
          </p15:clr>
        </p15:guide>
        <p15:guide id="3" orient="horz" pos="521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E390D8-FB2D-714E-887C-226EFBAA75C4}"/>
              </a:ext>
            </a:extLst>
          </p:cNvPr>
          <p:cNvCxnSpPr/>
          <p:nvPr userDrawn="1"/>
        </p:nvCxnSpPr>
        <p:spPr>
          <a:xfrm>
            <a:off x="314325" y="3767667"/>
            <a:ext cx="144018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370033-E5A1-7B48-AE34-D9C6694ED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0075" y="8657168"/>
            <a:ext cx="2571750" cy="486833"/>
          </a:xfrm>
        </p:spPr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BBD7296-A283-1446-A433-EC8C6228A4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445" y="283634"/>
            <a:ext cx="1465896" cy="12442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14E021-5666-C143-A40F-6113F80F8F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0075" y="3170768"/>
            <a:ext cx="6022181" cy="2620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9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2F35A6-FF25-0745-8AB1-FA8EE7D66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0075" y="5791200"/>
            <a:ext cx="6022181" cy="1299633"/>
          </a:xfrm>
        </p:spPr>
        <p:txBody>
          <a:bodyPr>
            <a:noAutofit/>
          </a:bodyPr>
          <a:lstStyle>
            <a:lvl1pPr marL="0" indent="0" algn="l">
              <a:spcAft>
                <a:spcPts val="533"/>
              </a:spcAft>
              <a:buNone/>
              <a:defRPr sz="2400">
                <a:solidFill>
                  <a:schemeClr val="tx2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2722481-4852-0234-5EBF-D5EE3BA5AABE}"/>
              </a:ext>
            </a:extLst>
          </p:cNvPr>
          <p:cNvCxnSpPr/>
          <p:nvPr userDrawn="1"/>
        </p:nvCxnSpPr>
        <p:spPr>
          <a:xfrm>
            <a:off x="314325" y="5967528"/>
            <a:ext cx="144018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87006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78" userDrawn="1">
          <p15:clr>
            <a:srgbClr val="FBAE40"/>
          </p15:clr>
        </p15:guide>
        <p15:guide id="2" orient="horz" pos="1997" userDrawn="1">
          <p15:clr>
            <a:srgbClr val="FBAE40"/>
          </p15:clr>
        </p15:guide>
        <p15:guide id="3" orient="horz" pos="3648" userDrawn="1">
          <p15:clr>
            <a:srgbClr val="FBAE40"/>
          </p15:clr>
        </p15:guide>
        <p15:guide id="4" pos="189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-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B5BA6-6E37-D642-969A-D710BEC279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744" y="1871133"/>
            <a:ext cx="1969961" cy="6409267"/>
          </a:xfrm>
          <a:solidFill>
            <a:schemeClr val="bg2"/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48D7D23-A4AE-A948-B404-C89F45ED35B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2366178" y="1871135"/>
            <a:ext cx="1969961" cy="6409267"/>
          </a:xfrm>
          <a:solidFill>
            <a:schemeClr val="bg2"/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C934C23-704D-AE40-866D-BF6B0DCFEA7C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494210" y="1871135"/>
            <a:ext cx="1969961" cy="6409267"/>
          </a:xfrm>
          <a:solidFill>
            <a:schemeClr val="bg2"/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804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91" userDrawn="1">
          <p15:clr>
            <a:srgbClr val="FBAE40"/>
          </p15:clr>
        </p15:guide>
        <p15:guide id="2" pos="2829" userDrawn="1">
          <p15:clr>
            <a:srgbClr val="FBAE40"/>
          </p15:clr>
        </p15:guide>
        <p15:guide id="3" orient="horz" pos="1179" userDrawn="1">
          <p15:clr>
            <a:srgbClr val="FBAE40"/>
          </p15:clr>
        </p15:guide>
        <p15:guide id="4" orient="horz" pos="5216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-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B5BA6-6E37-D642-969A-D710BEC279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743" y="1871133"/>
            <a:ext cx="1445324" cy="6409268"/>
          </a:xfrm>
          <a:solidFill>
            <a:schemeClr val="bg2"/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48D7D23-A4AE-A948-B404-C89F45ED35B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835943" y="1871133"/>
            <a:ext cx="1445324" cy="6409268"/>
          </a:xfrm>
          <a:solidFill>
            <a:schemeClr val="bg2"/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1F40F60-BBD9-9E4F-84D2-0B668EDB169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429000" y="1871134"/>
            <a:ext cx="1445324" cy="6409268"/>
          </a:xfrm>
          <a:solidFill>
            <a:schemeClr val="bg2"/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AA94E17-ACE2-234E-94FB-6DBEE6BAF77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025628" y="1871134"/>
            <a:ext cx="1445324" cy="6409268"/>
          </a:xfrm>
          <a:solidFill>
            <a:schemeClr val="bg2"/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8873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57" userDrawn="1">
          <p15:clr>
            <a:srgbClr val="FBAE40"/>
          </p15:clr>
        </p15:guide>
        <p15:guide id="2" pos="3166" userDrawn="1">
          <p15:clr>
            <a:srgbClr val="FBAE40"/>
          </p15:clr>
        </p15:guide>
        <p15:guide id="3" pos="2160" userDrawn="1">
          <p15:clr>
            <a:srgbClr val="FBAE40"/>
          </p15:clr>
        </p15:guide>
        <p15:guide id="4" orient="horz" pos="1179" userDrawn="1">
          <p15:clr>
            <a:srgbClr val="FBAE40"/>
          </p15:clr>
        </p15:guide>
        <p15:guide id="5" orient="horz" pos="5216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-1/3-Column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B5BA6-6E37-D642-969A-D710BEC279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744" y="1871133"/>
            <a:ext cx="4102298" cy="6409268"/>
          </a:xfrm>
          <a:solidFill>
            <a:schemeClr val="bg2"/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C934C23-704D-AE40-866D-BF6B0DCFEA7C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494210" y="1871134"/>
            <a:ext cx="1969961" cy="6409268"/>
          </a:xfrm>
          <a:solidFill>
            <a:schemeClr val="bg2"/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5943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29" userDrawn="1">
          <p15:clr>
            <a:srgbClr val="FBAE40"/>
          </p15:clr>
        </p15:guide>
        <p15:guide id="3" orient="horz" pos="1179" userDrawn="1">
          <p15:clr>
            <a:srgbClr val="FBAE40"/>
          </p15:clr>
        </p15:guide>
        <p15:guide id="4" orient="horz" pos="5216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C3C0C45-46D4-4641-835F-757BE4F4F022}"/>
              </a:ext>
            </a:extLst>
          </p:cNvPr>
          <p:cNvCxnSpPr/>
          <p:nvPr userDrawn="1"/>
        </p:nvCxnSpPr>
        <p:spPr>
          <a:xfrm>
            <a:off x="245734" y="3767667"/>
            <a:ext cx="144018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Logo">
            <a:extLst>
              <a:ext uri="{FF2B5EF4-FFF2-40B4-BE49-F238E27FC236}">
                <a16:creationId xmlns:a16="http://schemas.microsoft.com/office/drawing/2014/main" id="{9ECA36C3-BAB3-5943-8D31-335202518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1451" y="8394701"/>
            <a:ext cx="822960" cy="6985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808260-87F5-684E-B4AE-F4EFAA65FF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DAAE3E-8C1F-854F-A5B6-DE2B8F2003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10" name="Section Number">
            <a:extLst>
              <a:ext uri="{FF2B5EF4-FFF2-40B4-BE49-F238E27FC236}">
                <a16:creationId xmlns:a16="http://schemas.microsoft.com/office/drawing/2014/main" id="{E0E81EB4-471C-3F45-B7C7-3BCA829250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4350" y="2683087"/>
            <a:ext cx="1131570" cy="487680"/>
          </a:xfrm>
          <a:noFill/>
        </p:spPr>
        <p:txBody>
          <a:bodyPr wrap="none">
            <a:noAutofit/>
          </a:bodyPr>
          <a:lstStyle>
            <a:lvl1pPr>
              <a:spcAft>
                <a:spcPts val="0"/>
              </a:spcAft>
              <a:defRPr sz="21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[Optional section ##]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F85884-5EEF-2342-9652-061EE3FFE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50" y="3170768"/>
            <a:ext cx="5400675" cy="2620433"/>
          </a:xfrm>
        </p:spPr>
        <p:txBody>
          <a:bodyPr anchor="t" anchorCtr="0"/>
          <a:lstStyle>
            <a:lvl1pPr>
              <a:defRPr sz="80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32917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24" userDrawn="1">
          <p15:clr>
            <a:srgbClr val="FBAE40"/>
          </p15:clr>
        </p15:guide>
        <p15:guide id="2" orient="horz" pos="1997" userDrawn="1">
          <p15:clr>
            <a:srgbClr val="FBAE40"/>
          </p15:clr>
        </p15:guide>
        <p15:guide id="3" pos="200" userDrawn="1">
          <p15:clr>
            <a:srgbClr val="FBAE40"/>
          </p15:clr>
        </p15:guide>
        <p15:guide id="4" orient="horz" pos="3648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887010E-723C-D14C-AC63-00244F5DEEA1}"/>
              </a:ext>
            </a:extLst>
          </p:cNvPr>
          <p:cNvCxnSpPr/>
          <p:nvPr userDrawn="1"/>
        </p:nvCxnSpPr>
        <p:spPr>
          <a:xfrm>
            <a:off x="245734" y="3767667"/>
            <a:ext cx="144018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808260-87F5-684E-B4AE-F4EFAA65FF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DAAE3E-8C1F-854F-A5B6-DE2B8F2003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14" name="Section Number">
            <a:extLst>
              <a:ext uri="{FF2B5EF4-FFF2-40B4-BE49-F238E27FC236}">
                <a16:creationId xmlns:a16="http://schemas.microsoft.com/office/drawing/2014/main" id="{52FADD52-291B-F54C-9279-ADD61D70F9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4350" y="2683087"/>
            <a:ext cx="1131570" cy="487680"/>
          </a:xfrm>
          <a:noFill/>
        </p:spPr>
        <p:txBody>
          <a:bodyPr wrap="none">
            <a:noAutofit/>
          </a:bodyPr>
          <a:lstStyle>
            <a:lvl1pPr>
              <a:spcAft>
                <a:spcPts val="0"/>
              </a:spcAft>
              <a:defRPr sz="21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[Optional section ##]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F85884-5EEF-2342-9652-061EE3FFE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50" y="3170768"/>
            <a:ext cx="5400675" cy="2620433"/>
          </a:xfrm>
        </p:spPr>
        <p:txBody>
          <a:bodyPr anchor="t" anchorCtr="0"/>
          <a:lstStyle>
            <a:lvl1pPr>
              <a:defRPr sz="80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9519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24" userDrawn="1">
          <p15:clr>
            <a:srgbClr val="FBAE40"/>
          </p15:clr>
        </p15:guide>
        <p15:guide id="2" pos="200" userDrawn="1">
          <p15:clr>
            <a:srgbClr val="FBAE40"/>
          </p15:clr>
        </p15:guide>
        <p15:guide id="3" orient="horz" pos="1997" userDrawn="1">
          <p15:clr>
            <a:srgbClr val="FBAE40"/>
          </p15:clr>
        </p15:guide>
        <p15:guide id="4" orient="horz" pos="3648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 Tungste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F3854AF-0DCD-CF45-A193-040A7DC19E14}"/>
              </a:ext>
            </a:extLst>
          </p:cNvPr>
          <p:cNvCxnSpPr/>
          <p:nvPr userDrawn="1"/>
        </p:nvCxnSpPr>
        <p:spPr>
          <a:xfrm>
            <a:off x="245734" y="3767667"/>
            <a:ext cx="144018" cy="0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808260-87F5-684E-B4AE-F4EFAA65FF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DAAE3E-8C1F-854F-A5B6-DE2B8F2003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13" name="Section Number">
            <a:extLst>
              <a:ext uri="{FF2B5EF4-FFF2-40B4-BE49-F238E27FC236}">
                <a16:creationId xmlns:a16="http://schemas.microsoft.com/office/drawing/2014/main" id="{E0E2267C-3883-C643-9993-A02202AC28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4350" y="2683087"/>
            <a:ext cx="1131570" cy="487680"/>
          </a:xfrm>
          <a:noFill/>
        </p:spPr>
        <p:txBody>
          <a:bodyPr wrap="none">
            <a:noAutofit/>
          </a:bodyPr>
          <a:lstStyle>
            <a:lvl1pPr>
              <a:spcAft>
                <a:spcPts val="0"/>
              </a:spcAft>
              <a:defRPr sz="21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[Optional section ##]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F85884-5EEF-2342-9652-061EE3FFE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50" y="3170768"/>
            <a:ext cx="5400675" cy="2620433"/>
          </a:xfrm>
        </p:spPr>
        <p:txBody>
          <a:bodyPr anchor="t" anchorCtr="0"/>
          <a:lstStyle>
            <a:lvl1pPr>
              <a:defRPr sz="80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36949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24" userDrawn="1">
          <p15:clr>
            <a:srgbClr val="FBAE40"/>
          </p15:clr>
        </p15:guide>
        <p15:guide id="2" pos="200" userDrawn="1">
          <p15:clr>
            <a:srgbClr val="FBAE40"/>
          </p15:clr>
        </p15:guide>
        <p15:guide id="3" orient="horz" pos="1997" userDrawn="1">
          <p15:clr>
            <a:srgbClr val="FBAE40"/>
          </p15:clr>
        </p15:guide>
        <p15:guide id="4" orient="horz" pos="3648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Logo">
            <a:extLst>
              <a:ext uri="{FF2B5EF4-FFF2-40B4-BE49-F238E27FC236}">
                <a16:creationId xmlns:a16="http://schemas.microsoft.com/office/drawing/2014/main" id="{47D8C83C-F0EF-F949-8B0E-69909839C7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1451" y="8394701"/>
            <a:ext cx="822960" cy="69850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4F0CB69-A8C9-3148-BE3D-A492C022E5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2919" y="1871133"/>
            <a:ext cx="621506" cy="1219200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7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73263E97-D3AD-CB4D-A38F-E36DBD10B2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2919" y="3170767"/>
            <a:ext cx="621506" cy="1219200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7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0C84B42-6275-4644-86D4-ECD146789A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2919" y="4478867"/>
            <a:ext cx="621506" cy="1219200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7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0F8B490-4361-CC4A-9F61-79B2E81AFCD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2919" y="5791199"/>
            <a:ext cx="621506" cy="1219200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7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3CABFCA-A501-7E4D-9263-58563C08AE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2919" y="7090835"/>
            <a:ext cx="621506" cy="1189567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7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6AC87837-1EA6-2349-931C-E6FFFB8DBB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86175" y="1871133"/>
            <a:ext cx="621506" cy="1219200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7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6138EAC-7695-894D-BBD4-055459A093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86175" y="3170767"/>
            <a:ext cx="621506" cy="1219200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7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737E5CF-1F7C-5649-A592-CC25861D2D5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86175" y="4478867"/>
            <a:ext cx="621506" cy="1219200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7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070BC90-9746-8846-93B3-5F5CE932FF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686175" y="5791199"/>
            <a:ext cx="621506" cy="1219200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7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60960AB0-B647-2C4E-AAFE-66E5B8F1A5C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86175" y="7090835"/>
            <a:ext cx="621506" cy="1189567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7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247BEE3-7D76-F644-BDAB-16ED5A8288C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114425" y="1871133"/>
            <a:ext cx="2160270" cy="12192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 b="1">
                <a:solidFill>
                  <a:schemeClr val="tx1"/>
                </a:solidFill>
              </a:defRPr>
            </a:lvl1pPr>
            <a:lvl2pPr marL="0" indent="0">
              <a:spcAft>
                <a:spcPts val="533"/>
              </a:spcAft>
              <a:buNone/>
              <a:defRPr sz="1600">
                <a:solidFill>
                  <a:schemeClr val="tx1"/>
                </a:solidFill>
              </a:defRPr>
            </a:lvl2pPr>
            <a:lvl3pPr marL="4233" indent="0">
              <a:spcAft>
                <a:spcPts val="0"/>
              </a:spcAft>
              <a:buNone/>
              <a:tabLst/>
              <a:defRPr sz="1600">
                <a:solidFill>
                  <a:schemeClr val="tx1"/>
                </a:solidFill>
              </a:defRPr>
            </a:lvl3pPr>
            <a:lvl4pPr marL="146300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tabLst/>
              <a:defRPr sz="1333">
                <a:solidFill>
                  <a:schemeClr val="tx1"/>
                </a:solidFill>
              </a:defRPr>
            </a:lvl4pPr>
            <a:lvl5pPr marL="292601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321EEC92-A39E-E94D-B2E6-F86BAE8543A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114425" y="3170767"/>
            <a:ext cx="2160270" cy="12192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 b="1">
                <a:solidFill>
                  <a:schemeClr val="tx1"/>
                </a:solidFill>
              </a:defRPr>
            </a:lvl1pPr>
            <a:lvl2pPr marL="0" indent="0">
              <a:spcAft>
                <a:spcPts val="533"/>
              </a:spcAft>
              <a:buNone/>
              <a:defRPr sz="1600">
                <a:solidFill>
                  <a:schemeClr val="tx1"/>
                </a:solidFill>
              </a:defRPr>
            </a:lvl2pPr>
            <a:lvl3pPr marL="4233" indent="0">
              <a:spcAft>
                <a:spcPts val="0"/>
              </a:spcAft>
              <a:buNone/>
              <a:tabLst/>
              <a:defRPr sz="1600">
                <a:solidFill>
                  <a:schemeClr val="tx1"/>
                </a:solidFill>
              </a:defRPr>
            </a:lvl3pPr>
            <a:lvl4pPr marL="146300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tabLst/>
              <a:defRPr sz="1333">
                <a:solidFill>
                  <a:schemeClr val="tx1"/>
                </a:solidFill>
              </a:defRPr>
            </a:lvl4pPr>
            <a:lvl5pPr marL="292601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05A623ED-65B4-834F-8518-DA9B1269F13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114425" y="4478867"/>
            <a:ext cx="2160270" cy="12192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 b="1">
                <a:solidFill>
                  <a:schemeClr val="tx1"/>
                </a:solidFill>
              </a:defRPr>
            </a:lvl1pPr>
            <a:lvl2pPr marL="0" indent="0">
              <a:spcAft>
                <a:spcPts val="533"/>
              </a:spcAft>
              <a:buNone/>
              <a:defRPr sz="1600">
                <a:solidFill>
                  <a:schemeClr val="tx1"/>
                </a:solidFill>
              </a:defRPr>
            </a:lvl2pPr>
            <a:lvl3pPr marL="4233" indent="0">
              <a:spcAft>
                <a:spcPts val="0"/>
              </a:spcAft>
              <a:buNone/>
              <a:tabLst/>
              <a:defRPr sz="1600">
                <a:solidFill>
                  <a:schemeClr val="tx1"/>
                </a:solidFill>
              </a:defRPr>
            </a:lvl3pPr>
            <a:lvl4pPr marL="146300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tabLst/>
              <a:defRPr sz="1333">
                <a:solidFill>
                  <a:schemeClr val="tx1"/>
                </a:solidFill>
              </a:defRPr>
            </a:lvl4pPr>
            <a:lvl5pPr marL="292601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27D82EA8-413C-D24C-A022-A5076609146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114425" y="5791200"/>
            <a:ext cx="2160270" cy="12192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 b="1">
                <a:solidFill>
                  <a:schemeClr val="tx1"/>
                </a:solidFill>
              </a:defRPr>
            </a:lvl1pPr>
            <a:lvl2pPr marL="0" indent="0">
              <a:spcAft>
                <a:spcPts val="533"/>
              </a:spcAft>
              <a:buNone/>
              <a:defRPr sz="1600">
                <a:solidFill>
                  <a:schemeClr val="tx1"/>
                </a:solidFill>
              </a:defRPr>
            </a:lvl2pPr>
            <a:lvl3pPr marL="4233" indent="0">
              <a:spcAft>
                <a:spcPts val="0"/>
              </a:spcAft>
              <a:buNone/>
              <a:tabLst/>
              <a:defRPr sz="1600">
                <a:solidFill>
                  <a:schemeClr val="tx1"/>
                </a:solidFill>
              </a:defRPr>
            </a:lvl3pPr>
            <a:lvl4pPr marL="146300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tabLst/>
              <a:defRPr sz="1333">
                <a:solidFill>
                  <a:schemeClr val="tx1"/>
                </a:solidFill>
              </a:defRPr>
            </a:lvl4pPr>
            <a:lvl5pPr marL="292601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37E7239D-DEAC-7F4E-BAF6-9D7D97413F9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114425" y="7090834"/>
            <a:ext cx="2160270" cy="118956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 b="1">
                <a:solidFill>
                  <a:schemeClr val="tx1"/>
                </a:solidFill>
              </a:defRPr>
            </a:lvl1pPr>
            <a:lvl2pPr marL="0" indent="0">
              <a:spcAft>
                <a:spcPts val="533"/>
              </a:spcAft>
              <a:buNone/>
              <a:defRPr sz="1600">
                <a:solidFill>
                  <a:schemeClr val="tx1"/>
                </a:solidFill>
              </a:defRPr>
            </a:lvl2pPr>
            <a:lvl3pPr marL="4233" indent="0">
              <a:spcAft>
                <a:spcPts val="0"/>
              </a:spcAft>
              <a:buNone/>
              <a:tabLst/>
              <a:defRPr sz="1600">
                <a:solidFill>
                  <a:schemeClr val="tx1"/>
                </a:solidFill>
              </a:defRPr>
            </a:lvl3pPr>
            <a:lvl4pPr marL="146300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tabLst/>
              <a:defRPr sz="1333">
                <a:solidFill>
                  <a:schemeClr val="tx1"/>
                </a:solidFill>
              </a:defRPr>
            </a:lvl4pPr>
            <a:lvl5pPr marL="292601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B11C7D85-DC2F-A745-ADB8-A7CA8256E3D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307681" y="1871133"/>
            <a:ext cx="2160270" cy="12192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 b="1">
                <a:solidFill>
                  <a:schemeClr val="tx1"/>
                </a:solidFill>
              </a:defRPr>
            </a:lvl1pPr>
            <a:lvl2pPr marL="0" indent="0">
              <a:spcAft>
                <a:spcPts val="533"/>
              </a:spcAft>
              <a:buNone/>
              <a:defRPr sz="1600">
                <a:solidFill>
                  <a:schemeClr val="tx1"/>
                </a:solidFill>
              </a:defRPr>
            </a:lvl2pPr>
            <a:lvl3pPr marL="4233" indent="0">
              <a:spcAft>
                <a:spcPts val="0"/>
              </a:spcAft>
              <a:buNone/>
              <a:tabLst/>
              <a:defRPr sz="1600">
                <a:solidFill>
                  <a:schemeClr val="tx1"/>
                </a:solidFill>
              </a:defRPr>
            </a:lvl3pPr>
            <a:lvl4pPr marL="146300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tabLst/>
              <a:defRPr sz="1333">
                <a:solidFill>
                  <a:schemeClr val="tx1"/>
                </a:solidFill>
              </a:defRPr>
            </a:lvl4pPr>
            <a:lvl5pPr marL="292601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2" name="Text Placeholder 24">
            <a:extLst>
              <a:ext uri="{FF2B5EF4-FFF2-40B4-BE49-F238E27FC236}">
                <a16:creationId xmlns:a16="http://schemas.microsoft.com/office/drawing/2014/main" id="{EB74C912-DD8C-AF45-9C63-8F7BBF3C01E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307681" y="3170767"/>
            <a:ext cx="2160270" cy="12192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 b="1">
                <a:solidFill>
                  <a:schemeClr val="tx1"/>
                </a:solidFill>
              </a:defRPr>
            </a:lvl1pPr>
            <a:lvl2pPr marL="0" indent="0">
              <a:spcAft>
                <a:spcPts val="533"/>
              </a:spcAft>
              <a:buNone/>
              <a:defRPr sz="1600">
                <a:solidFill>
                  <a:schemeClr val="tx1"/>
                </a:solidFill>
              </a:defRPr>
            </a:lvl2pPr>
            <a:lvl3pPr marL="4233" indent="0">
              <a:spcAft>
                <a:spcPts val="0"/>
              </a:spcAft>
              <a:buNone/>
              <a:tabLst/>
              <a:defRPr sz="1600">
                <a:solidFill>
                  <a:schemeClr val="tx1"/>
                </a:solidFill>
              </a:defRPr>
            </a:lvl3pPr>
            <a:lvl4pPr marL="146300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tabLst/>
              <a:defRPr sz="1333">
                <a:solidFill>
                  <a:schemeClr val="tx1"/>
                </a:solidFill>
              </a:defRPr>
            </a:lvl4pPr>
            <a:lvl5pPr marL="292601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3" name="Text Placeholder 24">
            <a:extLst>
              <a:ext uri="{FF2B5EF4-FFF2-40B4-BE49-F238E27FC236}">
                <a16:creationId xmlns:a16="http://schemas.microsoft.com/office/drawing/2014/main" id="{5E8DBD9B-A278-BC4A-920C-02E36535935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07681" y="4478867"/>
            <a:ext cx="2160270" cy="12192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 b="1">
                <a:solidFill>
                  <a:schemeClr val="tx1"/>
                </a:solidFill>
              </a:defRPr>
            </a:lvl1pPr>
            <a:lvl2pPr marL="0" indent="0">
              <a:spcAft>
                <a:spcPts val="533"/>
              </a:spcAft>
              <a:buNone/>
              <a:defRPr sz="1600">
                <a:solidFill>
                  <a:schemeClr val="tx1"/>
                </a:solidFill>
              </a:defRPr>
            </a:lvl2pPr>
            <a:lvl3pPr marL="4233" indent="0">
              <a:spcAft>
                <a:spcPts val="0"/>
              </a:spcAft>
              <a:buNone/>
              <a:tabLst/>
              <a:defRPr sz="1600">
                <a:solidFill>
                  <a:schemeClr val="tx1"/>
                </a:solidFill>
              </a:defRPr>
            </a:lvl3pPr>
            <a:lvl4pPr marL="146300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tabLst/>
              <a:defRPr sz="1333">
                <a:solidFill>
                  <a:schemeClr val="tx1"/>
                </a:solidFill>
              </a:defRPr>
            </a:lvl4pPr>
            <a:lvl5pPr marL="292601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4" name="Text Placeholder 24">
            <a:extLst>
              <a:ext uri="{FF2B5EF4-FFF2-40B4-BE49-F238E27FC236}">
                <a16:creationId xmlns:a16="http://schemas.microsoft.com/office/drawing/2014/main" id="{FF9FB30C-3AED-7D45-A24D-38F4A99E19B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07681" y="5791200"/>
            <a:ext cx="2160270" cy="12192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 b="1">
                <a:solidFill>
                  <a:schemeClr val="tx1"/>
                </a:solidFill>
              </a:defRPr>
            </a:lvl1pPr>
            <a:lvl2pPr marL="0" indent="0">
              <a:spcAft>
                <a:spcPts val="533"/>
              </a:spcAft>
              <a:buNone/>
              <a:defRPr sz="1600">
                <a:solidFill>
                  <a:schemeClr val="tx1"/>
                </a:solidFill>
              </a:defRPr>
            </a:lvl2pPr>
            <a:lvl3pPr marL="4233" indent="0">
              <a:spcAft>
                <a:spcPts val="0"/>
              </a:spcAft>
              <a:buNone/>
              <a:tabLst/>
              <a:defRPr sz="1600">
                <a:solidFill>
                  <a:schemeClr val="tx1"/>
                </a:solidFill>
              </a:defRPr>
            </a:lvl3pPr>
            <a:lvl4pPr marL="146300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tabLst/>
              <a:defRPr sz="1333">
                <a:solidFill>
                  <a:schemeClr val="tx1"/>
                </a:solidFill>
              </a:defRPr>
            </a:lvl4pPr>
            <a:lvl5pPr marL="292601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5" name="Text Placeholder 24">
            <a:extLst>
              <a:ext uri="{FF2B5EF4-FFF2-40B4-BE49-F238E27FC236}">
                <a16:creationId xmlns:a16="http://schemas.microsoft.com/office/drawing/2014/main" id="{612DBE41-3DAD-064C-BC23-5C041B16A22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07681" y="7090834"/>
            <a:ext cx="2160270" cy="118956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 b="1">
                <a:solidFill>
                  <a:schemeClr val="tx1"/>
                </a:solidFill>
              </a:defRPr>
            </a:lvl1pPr>
            <a:lvl2pPr marL="0" indent="0">
              <a:spcAft>
                <a:spcPts val="533"/>
              </a:spcAft>
              <a:buNone/>
              <a:defRPr sz="1600">
                <a:solidFill>
                  <a:schemeClr val="tx1"/>
                </a:solidFill>
              </a:defRPr>
            </a:lvl2pPr>
            <a:lvl3pPr marL="4233" indent="0">
              <a:spcAft>
                <a:spcPts val="0"/>
              </a:spcAft>
              <a:buNone/>
              <a:tabLst/>
              <a:defRPr sz="1600">
                <a:solidFill>
                  <a:schemeClr val="tx1"/>
                </a:solidFill>
              </a:defRPr>
            </a:lvl3pPr>
            <a:lvl4pPr marL="146300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tabLst/>
              <a:defRPr sz="1333">
                <a:solidFill>
                  <a:schemeClr val="tx1"/>
                </a:solidFill>
              </a:defRPr>
            </a:lvl4pPr>
            <a:lvl5pPr marL="292601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31165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11" userDrawn="1">
          <p15:clr>
            <a:srgbClr val="FBAE40"/>
          </p15:clr>
        </p15:guide>
        <p15:guide id="2" pos="702" userDrawn="1">
          <p15:clr>
            <a:srgbClr val="FBAE40"/>
          </p15:clr>
        </p15:guide>
        <p15:guide id="3" pos="2322" userDrawn="1">
          <p15:clr>
            <a:srgbClr val="FBAE40"/>
          </p15:clr>
        </p15:guide>
        <p15:guide id="4" pos="2714" userDrawn="1">
          <p15:clr>
            <a:srgbClr val="FBAE40"/>
          </p15:clr>
        </p15:guide>
        <p15:guide id="5" orient="horz" pos="1179" userDrawn="1">
          <p15:clr>
            <a:srgbClr val="FBAE40"/>
          </p15:clr>
        </p15:guide>
        <p15:guide id="6" orient="horz" pos="1997" userDrawn="1">
          <p15:clr>
            <a:srgbClr val="FBAE40"/>
          </p15:clr>
        </p15:guide>
        <p15:guide id="7" orient="horz" pos="2821" userDrawn="1">
          <p15:clr>
            <a:srgbClr val="FBAE40"/>
          </p15:clr>
        </p15:guide>
        <p15:guide id="8" orient="horz" pos="3648" userDrawn="1">
          <p15:clr>
            <a:srgbClr val="FBAE40"/>
          </p15:clr>
        </p15:guide>
        <p15:guide id="9" orient="horz" pos="4467" userDrawn="1">
          <p15:clr>
            <a:srgbClr val="FBAE40"/>
          </p15:clr>
        </p15:guide>
        <p15:guide id="10" pos="2160" userDrawn="1">
          <p15:clr>
            <a:srgbClr val="FBAE40"/>
          </p15:clr>
        </p15:guide>
        <p15:guide id="11" orient="horz" pos="5216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4F0CB69-A8C9-3148-BE3D-A492C022E5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2919" y="1871133"/>
            <a:ext cx="621506" cy="1219200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7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73263E97-D3AD-CB4D-A38F-E36DBD10B2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2919" y="3170767"/>
            <a:ext cx="621506" cy="1219200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7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0C84B42-6275-4644-86D4-ECD146789A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2919" y="4478867"/>
            <a:ext cx="621506" cy="1219200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7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0F8B490-4361-CC4A-9F61-79B2E81AFCD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2919" y="5791199"/>
            <a:ext cx="621506" cy="1219200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7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3CABFCA-A501-7E4D-9263-58563C08AE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2919" y="7090835"/>
            <a:ext cx="621506" cy="1189567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7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6AC87837-1EA6-2349-931C-E6FFFB8DBB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86175" y="1871133"/>
            <a:ext cx="621506" cy="1219200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7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6138EAC-7695-894D-BBD4-055459A0935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86175" y="3170767"/>
            <a:ext cx="621506" cy="1219200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7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C737E5CF-1F7C-5649-A592-CC25861D2D5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86175" y="4478867"/>
            <a:ext cx="621506" cy="1219200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7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0070BC90-9746-8846-93B3-5F5CE932FF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686175" y="5791199"/>
            <a:ext cx="621506" cy="1219200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7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60960AB0-B647-2C4E-AAFE-66E5B8F1A5C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686175" y="7090835"/>
            <a:ext cx="621506" cy="1189567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7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4247BEE3-7D76-F644-BDAB-16ED5A8288C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114425" y="1871133"/>
            <a:ext cx="2160270" cy="12192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533"/>
              </a:spcAft>
              <a:buNone/>
              <a:defRPr sz="1600">
                <a:solidFill>
                  <a:schemeClr val="tx1"/>
                </a:solidFill>
              </a:defRPr>
            </a:lvl2pPr>
            <a:lvl3pPr marL="4233" indent="0">
              <a:spcAft>
                <a:spcPts val="0"/>
              </a:spcAft>
              <a:buNone/>
              <a:tabLst/>
              <a:defRPr sz="1600">
                <a:solidFill>
                  <a:schemeClr val="tx1"/>
                </a:solidFill>
              </a:defRPr>
            </a:lvl3pPr>
            <a:lvl4pPr marL="146300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tabLst/>
              <a:defRPr sz="1333">
                <a:solidFill>
                  <a:schemeClr val="tx1"/>
                </a:solidFill>
              </a:defRPr>
            </a:lvl4pPr>
            <a:lvl5pPr marL="292601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321EEC92-A39E-E94D-B2E6-F86BAE8543A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114425" y="3170767"/>
            <a:ext cx="2160270" cy="12192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533"/>
              </a:spcAft>
              <a:buNone/>
              <a:defRPr sz="1600">
                <a:solidFill>
                  <a:schemeClr val="tx1"/>
                </a:solidFill>
              </a:defRPr>
            </a:lvl2pPr>
            <a:lvl3pPr marL="4233" indent="0">
              <a:spcAft>
                <a:spcPts val="0"/>
              </a:spcAft>
              <a:buNone/>
              <a:tabLst/>
              <a:defRPr sz="1600">
                <a:solidFill>
                  <a:schemeClr val="tx1"/>
                </a:solidFill>
              </a:defRPr>
            </a:lvl3pPr>
            <a:lvl4pPr marL="146300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tabLst/>
              <a:defRPr sz="1333">
                <a:solidFill>
                  <a:schemeClr val="tx1"/>
                </a:solidFill>
              </a:defRPr>
            </a:lvl4pPr>
            <a:lvl5pPr marL="292601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05A623ED-65B4-834F-8518-DA9B1269F13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114425" y="4478867"/>
            <a:ext cx="2160270" cy="12192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533"/>
              </a:spcAft>
              <a:buNone/>
              <a:defRPr sz="1600">
                <a:solidFill>
                  <a:schemeClr val="tx1"/>
                </a:solidFill>
              </a:defRPr>
            </a:lvl2pPr>
            <a:lvl3pPr marL="4233" indent="0">
              <a:spcAft>
                <a:spcPts val="0"/>
              </a:spcAft>
              <a:buNone/>
              <a:tabLst/>
              <a:defRPr sz="1600">
                <a:solidFill>
                  <a:schemeClr val="tx1"/>
                </a:solidFill>
              </a:defRPr>
            </a:lvl3pPr>
            <a:lvl4pPr marL="146300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tabLst/>
              <a:defRPr sz="1333">
                <a:solidFill>
                  <a:schemeClr val="tx1"/>
                </a:solidFill>
              </a:defRPr>
            </a:lvl4pPr>
            <a:lvl5pPr marL="292601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27D82EA8-413C-D24C-A022-A5076609146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114425" y="5791200"/>
            <a:ext cx="2160270" cy="12192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533"/>
              </a:spcAft>
              <a:buNone/>
              <a:defRPr sz="1600">
                <a:solidFill>
                  <a:schemeClr val="tx1"/>
                </a:solidFill>
              </a:defRPr>
            </a:lvl2pPr>
            <a:lvl3pPr marL="4233" indent="0">
              <a:spcAft>
                <a:spcPts val="0"/>
              </a:spcAft>
              <a:buNone/>
              <a:tabLst/>
              <a:defRPr sz="1600">
                <a:solidFill>
                  <a:schemeClr val="tx1"/>
                </a:solidFill>
              </a:defRPr>
            </a:lvl3pPr>
            <a:lvl4pPr marL="146300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tabLst/>
              <a:defRPr sz="1333">
                <a:solidFill>
                  <a:schemeClr val="tx1"/>
                </a:solidFill>
              </a:defRPr>
            </a:lvl4pPr>
            <a:lvl5pPr marL="292601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37E7239D-DEAC-7F4E-BAF6-9D7D97413F9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114425" y="7090834"/>
            <a:ext cx="2160270" cy="118956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533"/>
              </a:spcAft>
              <a:buNone/>
              <a:defRPr sz="1600">
                <a:solidFill>
                  <a:schemeClr val="tx1"/>
                </a:solidFill>
              </a:defRPr>
            </a:lvl2pPr>
            <a:lvl3pPr marL="4233" indent="0">
              <a:spcAft>
                <a:spcPts val="0"/>
              </a:spcAft>
              <a:buNone/>
              <a:tabLst/>
              <a:defRPr sz="1600">
                <a:solidFill>
                  <a:schemeClr val="tx1"/>
                </a:solidFill>
              </a:defRPr>
            </a:lvl3pPr>
            <a:lvl4pPr marL="146300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tabLst/>
              <a:defRPr sz="1333">
                <a:solidFill>
                  <a:schemeClr val="tx1"/>
                </a:solidFill>
              </a:defRPr>
            </a:lvl4pPr>
            <a:lvl5pPr marL="292601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1" name="Text Placeholder 24">
            <a:extLst>
              <a:ext uri="{FF2B5EF4-FFF2-40B4-BE49-F238E27FC236}">
                <a16:creationId xmlns:a16="http://schemas.microsoft.com/office/drawing/2014/main" id="{B11C7D85-DC2F-A745-ADB8-A7CA8256E3D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307681" y="1871133"/>
            <a:ext cx="2160270" cy="12192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533"/>
              </a:spcAft>
              <a:buNone/>
              <a:defRPr sz="1600">
                <a:solidFill>
                  <a:schemeClr val="tx1"/>
                </a:solidFill>
              </a:defRPr>
            </a:lvl2pPr>
            <a:lvl3pPr marL="4233" indent="0">
              <a:spcAft>
                <a:spcPts val="0"/>
              </a:spcAft>
              <a:buNone/>
              <a:tabLst/>
              <a:defRPr sz="1600">
                <a:solidFill>
                  <a:schemeClr val="tx1"/>
                </a:solidFill>
              </a:defRPr>
            </a:lvl3pPr>
            <a:lvl4pPr marL="146300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tabLst/>
              <a:defRPr sz="1333">
                <a:solidFill>
                  <a:schemeClr val="tx1"/>
                </a:solidFill>
              </a:defRPr>
            </a:lvl4pPr>
            <a:lvl5pPr marL="292601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2" name="Text Placeholder 24">
            <a:extLst>
              <a:ext uri="{FF2B5EF4-FFF2-40B4-BE49-F238E27FC236}">
                <a16:creationId xmlns:a16="http://schemas.microsoft.com/office/drawing/2014/main" id="{EB74C912-DD8C-AF45-9C63-8F7BBF3C01E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307681" y="3170767"/>
            <a:ext cx="2160270" cy="12192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533"/>
              </a:spcAft>
              <a:buNone/>
              <a:defRPr sz="1600">
                <a:solidFill>
                  <a:schemeClr val="tx1"/>
                </a:solidFill>
              </a:defRPr>
            </a:lvl2pPr>
            <a:lvl3pPr marL="4233" indent="0">
              <a:spcAft>
                <a:spcPts val="0"/>
              </a:spcAft>
              <a:buNone/>
              <a:tabLst/>
              <a:defRPr sz="1600">
                <a:solidFill>
                  <a:schemeClr val="tx1"/>
                </a:solidFill>
              </a:defRPr>
            </a:lvl3pPr>
            <a:lvl4pPr marL="146300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tabLst/>
              <a:defRPr sz="1333">
                <a:solidFill>
                  <a:schemeClr val="tx1"/>
                </a:solidFill>
              </a:defRPr>
            </a:lvl4pPr>
            <a:lvl5pPr marL="292601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3" name="Text Placeholder 24">
            <a:extLst>
              <a:ext uri="{FF2B5EF4-FFF2-40B4-BE49-F238E27FC236}">
                <a16:creationId xmlns:a16="http://schemas.microsoft.com/office/drawing/2014/main" id="{5E8DBD9B-A278-BC4A-920C-02E36535935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07681" y="4478867"/>
            <a:ext cx="2160270" cy="12192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533"/>
              </a:spcAft>
              <a:buNone/>
              <a:defRPr sz="1600">
                <a:solidFill>
                  <a:schemeClr val="tx1"/>
                </a:solidFill>
              </a:defRPr>
            </a:lvl2pPr>
            <a:lvl3pPr marL="4233" indent="0">
              <a:spcAft>
                <a:spcPts val="0"/>
              </a:spcAft>
              <a:buNone/>
              <a:tabLst/>
              <a:defRPr sz="1600">
                <a:solidFill>
                  <a:schemeClr val="tx1"/>
                </a:solidFill>
              </a:defRPr>
            </a:lvl3pPr>
            <a:lvl4pPr marL="146300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tabLst/>
              <a:defRPr sz="1333">
                <a:solidFill>
                  <a:schemeClr val="tx1"/>
                </a:solidFill>
              </a:defRPr>
            </a:lvl4pPr>
            <a:lvl5pPr marL="292601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4" name="Text Placeholder 24">
            <a:extLst>
              <a:ext uri="{FF2B5EF4-FFF2-40B4-BE49-F238E27FC236}">
                <a16:creationId xmlns:a16="http://schemas.microsoft.com/office/drawing/2014/main" id="{FF9FB30C-3AED-7D45-A24D-38F4A99E19BA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07681" y="5791200"/>
            <a:ext cx="2160270" cy="12192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533"/>
              </a:spcAft>
              <a:buNone/>
              <a:defRPr sz="1600">
                <a:solidFill>
                  <a:schemeClr val="tx1"/>
                </a:solidFill>
              </a:defRPr>
            </a:lvl2pPr>
            <a:lvl3pPr marL="4233" indent="0">
              <a:spcAft>
                <a:spcPts val="0"/>
              </a:spcAft>
              <a:buNone/>
              <a:tabLst/>
              <a:defRPr sz="1600">
                <a:solidFill>
                  <a:schemeClr val="tx1"/>
                </a:solidFill>
              </a:defRPr>
            </a:lvl3pPr>
            <a:lvl4pPr marL="146300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tabLst/>
              <a:defRPr sz="1333">
                <a:solidFill>
                  <a:schemeClr val="tx1"/>
                </a:solidFill>
              </a:defRPr>
            </a:lvl4pPr>
            <a:lvl5pPr marL="292601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5" name="Text Placeholder 24">
            <a:extLst>
              <a:ext uri="{FF2B5EF4-FFF2-40B4-BE49-F238E27FC236}">
                <a16:creationId xmlns:a16="http://schemas.microsoft.com/office/drawing/2014/main" id="{612DBE41-3DAD-064C-BC23-5C041B16A22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07681" y="7090834"/>
            <a:ext cx="2160270" cy="1189567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600" b="1">
                <a:solidFill>
                  <a:schemeClr val="tx2"/>
                </a:solidFill>
              </a:defRPr>
            </a:lvl1pPr>
            <a:lvl2pPr marL="0" indent="0">
              <a:spcAft>
                <a:spcPts val="533"/>
              </a:spcAft>
              <a:buNone/>
              <a:defRPr sz="1600">
                <a:solidFill>
                  <a:schemeClr val="tx1"/>
                </a:solidFill>
              </a:defRPr>
            </a:lvl2pPr>
            <a:lvl3pPr marL="4233" indent="0">
              <a:spcAft>
                <a:spcPts val="0"/>
              </a:spcAft>
              <a:buNone/>
              <a:tabLst/>
              <a:defRPr sz="1600">
                <a:solidFill>
                  <a:schemeClr val="tx1"/>
                </a:solidFill>
              </a:defRPr>
            </a:lvl3pPr>
            <a:lvl4pPr marL="146300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tabLst/>
              <a:defRPr sz="1333">
                <a:solidFill>
                  <a:schemeClr val="tx1"/>
                </a:solidFill>
              </a:defRPr>
            </a:lvl4pPr>
            <a:lvl5pPr marL="292601" indent="-146300">
              <a:spcAft>
                <a:spcPts val="267"/>
              </a:spcAft>
              <a:buClr>
                <a:schemeClr val="tx1"/>
              </a:buClr>
              <a:buFont typeface="System Font Regular"/>
              <a:buChar char="–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050683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1" userDrawn="1">
          <p15:clr>
            <a:srgbClr val="FBAE40"/>
          </p15:clr>
        </p15:guide>
        <p15:guide id="2" pos="702" userDrawn="1">
          <p15:clr>
            <a:srgbClr val="FBAE40"/>
          </p15:clr>
        </p15:guide>
        <p15:guide id="3" pos="2322" userDrawn="1">
          <p15:clr>
            <a:srgbClr val="FBAE40"/>
          </p15:clr>
        </p15:guide>
        <p15:guide id="4" pos="2714" userDrawn="1">
          <p15:clr>
            <a:srgbClr val="FBAE40"/>
          </p15:clr>
        </p15:guide>
        <p15:guide id="5" orient="horz" pos="1179" userDrawn="1">
          <p15:clr>
            <a:srgbClr val="FBAE40"/>
          </p15:clr>
        </p15:guide>
        <p15:guide id="6" orient="horz" pos="1997" userDrawn="1">
          <p15:clr>
            <a:srgbClr val="FBAE40"/>
          </p15:clr>
        </p15:guide>
        <p15:guide id="7" orient="horz" pos="2821" userDrawn="1">
          <p15:clr>
            <a:srgbClr val="FBAE40"/>
          </p15:clr>
        </p15:guide>
        <p15:guide id="8" orient="horz" pos="3648" userDrawn="1">
          <p15:clr>
            <a:srgbClr val="FBAE40"/>
          </p15:clr>
        </p15:guide>
        <p15:guide id="9" orient="horz" pos="4467" userDrawn="1">
          <p15:clr>
            <a:srgbClr val="FBAE40"/>
          </p15:clr>
        </p15:guide>
        <p15:guide id="10" pos="2160" userDrawn="1">
          <p15:clr>
            <a:srgbClr val="FBAE40"/>
          </p15:clr>
        </p15:guide>
        <p15:guide id="11" orient="horz" pos="5216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03A9CFF3-144D-F242-AB37-45B8D1EA02D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500562" y="5118112"/>
            <a:ext cx="640259" cy="1950720"/>
          </a:xfrm>
          <a:solidFill>
            <a:schemeClr val="accent3"/>
          </a:solidFill>
        </p:spPr>
        <p:txBody>
          <a:bodyPr/>
          <a:lstStyle>
            <a:lvl1pPr>
              <a:defRPr sz="1867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D30E5EF1-DEED-0E4E-842C-164ECBEB862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2366367" y="5118112"/>
            <a:ext cx="640259" cy="1950720"/>
          </a:xfrm>
          <a:solidFill>
            <a:schemeClr val="accent3"/>
          </a:solidFill>
        </p:spPr>
        <p:txBody>
          <a:bodyPr/>
          <a:lstStyle>
            <a:lvl1pPr>
              <a:defRPr sz="1867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35166569-9518-9B41-8B53-AA608D40024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35744" y="5118112"/>
            <a:ext cx="640259" cy="1950720"/>
          </a:xfrm>
          <a:solidFill>
            <a:schemeClr val="accent3"/>
          </a:solidFill>
        </p:spPr>
        <p:txBody>
          <a:bodyPr/>
          <a:lstStyle>
            <a:lvl1pPr>
              <a:defRPr sz="1867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13">
            <a:extLst>
              <a:ext uri="{FF2B5EF4-FFF2-40B4-BE49-F238E27FC236}">
                <a16:creationId xmlns:a16="http://schemas.microsoft.com/office/drawing/2014/main" id="{E7959487-FA6F-9442-8793-172CFAE0C4D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500562" y="1871133"/>
            <a:ext cx="640259" cy="1950720"/>
          </a:xfrm>
          <a:solidFill>
            <a:schemeClr val="accent3"/>
          </a:solidFill>
        </p:spPr>
        <p:txBody>
          <a:bodyPr/>
          <a:lstStyle>
            <a:lvl1pPr>
              <a:defRPr sz="1867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13">
            <a:extLst>
              <a:ext uri="{FF2B5EF4-FFF2-40B4-BE49-F238E27FC236}">
                <a16:creationId xmlns:a16="http://schemas.microsoft.com/office/drawing/2014/main" id="{22F3E836-EB9D-0A44-8CBF-55C02225AF9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2366367" y="1871133"/>
            <a:ext cx="640259" cy="1950720"/>
          </a:xfrm>
          <a:solidFill>
            <a:schemeClr val="accent3"/>
          </a:solidFill>
        </p:spPr>
        <p:txBody>
          <a:bodyPr/>
          <a:lstStyle>
            <a:lvl1pPr>
              <a:defRPr sz="1867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C88ED419-5FB1-1040-9DD4-AB69170FDA9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35744" y="1871133"/>
            <a:ext cx="640259" cy="1950720"/>
          </a:xfrm>
          <a:solidFill>
            <a:schemeClr val="accent3"/>
          </a:solidFill>
        </p:spPr>
        <p:txBody>
          <a:bodyPr/>
          <a:lstStyle>
            <a:lvl1pPr>
              <a:defRPr sz="1867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7559BAC-92F4-B744-9836-450C4A90B3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64406" y="1871134"/>
            <a:ext cx="1234440" cy="2607733"/>
          </a:xfrm>
        </p:spPr>
        <p:txBody>
          <a:bodyPr/>
          <a:lstStyle>
            <a:lvl1pPr>
              <a:spcAft>
                <a:spcPts val="267"/>
              </a:spcAft>
              <a:defRPr sz="1867" b="1">
                <a:solidFill>
                  <a:schemeClr val="tx2"/>
                </a:solidFill>
              </a:defRPr>
            </a:lvl1pPr>
            <a:lvl2pPr marL="0" indent="0">
              <a:buNone/>
              <a:defRPr sz="1867" i="1">
                <a:solidFill>
                  <a:schemeClr val="tx1"/>
                </a:solidFill>
              </a:defRPr>
            </a:lvl2pPr>
            <a:lvl3pPr marL="16933" indent="0">
              <a:buNone/>
              <a:tabLst/>
              <a:defRPr sz="1867">
                <a:solidFill>
                  <a:schemeClr val="tx1"/>
                </a:solidFill>
              </a:defRPr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34D8682B-ACC9-614A-8FC5-30E2225A02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94138" y="1871134"/>
            <a:ext cx="1234440" cy="2607733"/>
          </a:xfrm>
        </p:spPr>
        <p:txBody>
          <a:bodyPr/>
          <a:lstStyle>
            <a:lvl1pPr>
              <a:spcAft>
                <a:spcPts val="267"/>
              </a:spcAft>
              <a:defRPr sz="1867" b="1">
                <a:solidFill>
                  <a:schemeClr val="tx2"/>
                </a:solidFill>
              </a:defRPr>
            </a:lvl1pPr>
            <a:lvl2pPr marL="0" indent="0">
              <a:buNone/>
              <a:defRPr sz="1867" i="1"/>
            </a:lvl2pPr>
            <a:lvl3pPr marL="16933" indent="0">
              <a:buNone/>
              <a:tabLst/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A9DF087C-13B0-8044-B147-F99E711E3B8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229225" y="1871134"/>
            <a:ext cx="1234440" cy="2607733"/>
          </a:xfrm>
        </p:spPr>
        <p:txBody>
          <a:bodyPr/>
          <a:lstStyle>
            <a:lvl1pPr>
              <a:spcAft>
                <a:spcPts val="267"/>
              </a:spcAft>
              <a:defRPr sz="1867" b="1">
                <a:solidFill>
                  <a:schemeClr val="tx2"/>
                </a:solidFill>
              </a:defRPr>
            </a:lvl1pPr>
            <a:lvl2pPr marL="0" indent="0">
              <a:buNone/>
              <a:defRPr sz="1867" i="1"/>
            </a:lvl2pPr>
            <a:lvl3pPr marL="16933" indent="0">
              <a:buNone/>
              <a:tabLst/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B68F9AA8-58C0-BD45-A206-0D15796A4D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64406" y="5118112"/>
            <a:ext cx="1234440" cy="2607733"/>
          </a:xfrm>
        </p:spPr>
        <p:txBody>
          <a:bodyPr/>
          <a:lstStyle>
            <a:lvl1pPr>
              <a:spcAft>
                <a:spcPts val="267"/>
              </a:spcAft>
              <a:defRPr sz="1867" b="1">
                <a:solidFill>
                  <a:schemeClr val="tx2"/>
                </a:solidFill>
              </a:defRPr>
            </a:lvl1pPr>
            <a:lvl2pPr marL="0" indent="0">
              <a:buNone/>
              <a:defRPr sz="1867" i="1"/>
            </a:lvl2pPr>
            <a:lvl3pPr marL="16933" indent="0">
              <a:buNone/>
              <a:tabLst/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5655B9A0-5BD5-4B4C-87A7-8A7BC98C366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094138" y="5118112"/>
            <a:ext cx="1234440" cy="2607733"/>
          </a:xfrm>
        </p:spPr>
        <p:txBody>
          <a:bodyPr/>
          <a:lstStyle>
            <a:lvl1pPr>
              <a:spcAft>
                <a:spcPts val="267"/>
              </a:spcAft>
              <a:defRPr sz="1867" b="1">
                <a:solidFill>
                  <a:schemeClr val="tx2"/>
                </a:solidFill>
              </a:defRPr>
            </a:lvl1pPr>
            <a:lvl2pPr marL="0" indent="0">
              <a:buNone/>
              <a:defRPr sz="1867" i="1"/>
            </a:lvl2pPr>
            <a:lvl3pPr marL="16933" indent="0">
              <a:buNone/>
              <a:tabLst/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F2FB16EA-50E6-7147-BF52-0D186E43127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29225" y="5118112"/>
            <a:ext cx="1234440" cy="2607733"/>
          </a:xfrm>
        </p:spPr>
        <p:txBody>
          <a:bodyPr/>
          <a:lstStyle>
            <a:lvl1pPr>
              <a:spcAft>
                <a:spcPts val="267"/>
              </a:spcAft>
              <a:defRPr sz="1867" b="1">
                <a:solidFill>
                  <a:schemeClr val="tx2"/>
                </a:solidFill>
              </a:defRPr>
            </a:lvl1pPr>
            <a:lvl2pPr marL="0" indent="0">
              <a:buNone/>
              <a:defRPr sz="1867" i="1"/>
            </a:lvl2pPr>
            <a:lvl3pPr marL="16933" indent="0">
              <a:buNone/>
              <a:tabLst/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67970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91" userDrawn="1">
          <p15:clr>
            <a:srgbClr val="FBAE40"/>
          </p15:clr>
        </p15:guide>
        <p15:guide id="2" pos="2829" userDrawn="1">
          <p15:clr>
            <a:srgbClr val="FBAE40"/>
          </p15:clr>
        </p15:guide>
        <p15:guide id="3" orient="horz" pos="3200" userDrawn="1">
          <p15:clr>
            <a:srgbClr val="FBAE40"/>
          </p15:clr>
        </p15:guide>
        <p15:guide id="4" pos="608" userDrawn="1">
          <p15:clr>
            <a:srgbClr val="FBAE40"/>
          </p15:clr>
        </p15:guide>
        <p15:guide id="5" pos="1949" userDrawn="1">
          <p15:clr>
            <a:srgbClr val="FBAE40"/>
          </p15:clr>
        </p15:guide>
        <p15:guide id="6" pos="3294" userDrawn="1">
          <p15:clr>
            <a:srgbClr val="FBAE40"/>
          </p15:clr>
        </p15:guide>
        <p15:guide id="7" orient="horz" pos="1179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744" y="558802"/>
            <a:ext cx="3034665" cy="2611965"/>
          </a:xfrm>
        </p:spPr>
        <p:txBody>
          <a:bodyPr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B5BA6-6E37-D642-969A-D710BEC279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744" y="3200400"/>
            <a:ext cx="3034665" cy="508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E5A1687-B173-3C4B-B080-DF7BBD030F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429000" y="558802"/>
            <a:ext cx="3193256" cy="7721599"/>
          </a:xfrm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84725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0" userDrawn="1">
          <p15:clr>
            <a:srgbClr val="FBAE40"/>
          </p15:clr>
        </p15:guide>
        <p15:guide id="2" orient="horz" pos="2016" userDrawn="1">
          <p15:clr>
            <a:srgbClr val="FBAE40"/>
          </p15:clr>
        </p15:guide>
        <p15:guide id="3" orient="horz" pos="5216" userDrawn="1">
          <p15:clr>
            <a:srgbClr val="FBAE40"/>
          </p15:clr>
        </p15:guide>
        <p15:guide id="4" orient="horz" pos="11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3 Pictur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2A82C2C-A9A7-1D4B-9938-2B941033DB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2" y="0"/>
            <a:ext cx="6856656" cy="9144000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E390D8-FB2D-714E-887C-226EFBAA75C4}"/>
              </a:ext>
            </a:extLst>
          </p:cNvPr>
          <p:cNvCxnSpPr/>
          <p:nvPr userDrawn="1"/>
        </p:nvCxnSpPr>
        <p:spPr>
          <a:xfrm>
            <a:off x="314325" y="3767667"/>
            <a:ext cx="144018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370033-E5A1-7B48-AE34-D9C6694ED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0075" y="8657168"/>
            <a:ext cx="2571750" cy="4868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BBD7296-A283-1446-A433-EC8C6228A4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445" y="283633"/>
            <a:ext cx="1465896" cy="12442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14E021-5666-C143-A40F-6113F80F8F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0075" y="3170768"/>
            <a:ext cx="6022181" cy="2620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9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2F35A6-FF25-0745-8AB1-FA8EE7D66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0075" y="5791200"/>
            <a:ext cx="6022181" cy="1299633"/>
          </a:xfrm>
        </p:spPr>
        <p:txBody>
          <a:bodyPr>
            <a:noAutofit/>
          </a:bodyPr>
          <a:lstStyle>
            <a:lvl1pPr marL="0" indent="0" algn="l">
              <a:spcAft>
                <a:spcPts val="533"/>
              </a:spcAft>
              <a:buNone/>
              <a:defRPr sz="24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BE6797E-8C00-E070-3AE4-5C5E76D2AC8F}"/>
              </a:ext>
            </a:extLst>
          </p:cNvPr>
          <p:cNvCxnSpPr/>
          <p:nvPr userDrawn="1"/>
        </p:nvCxnSpPr>
        <p:spPr>
          <a:xfrm>
            <a:off x="314325" y="5967527"/>
            <a:ext cx="144018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62585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78" userDrawn="1">
          <p15:clr>
            <a:srgbClr val="FBAE40"/>
          </p15:clr>
        </p15:guide>
        <p15:guide id="2" pos="243" userDrawn="1">
          <p15:clr>
            <a:srgbClr val="FBAE40"/>
          </p15:clr>
        </p15:guide>
        <p15:guide id="3" orient="horz" pos="3648" userDrawn="1">
          <p15:clr>
            <a:srgbClr val="FBAE40"/>
          </p15:clr>
        </p15:guide>
        <p15:guide id="4" orient="horz" pos="1997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9019" y="558802"/>
            <a:ext cx="3043238" cy="2611965"/>
          </a:xfrm>
        </p:spPr>
        <p:txBody>
          <a:bodyPr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E5A1687-B173-3C4B-B080-DF7BBD030F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39316" y="558802"/>
            <a:ext cx="3193256" cy="7721599"/>
          </a:xfrm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B5BA6-6E37-D642-969A-D710BEC279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9019" y="3200400"/>
            <a:ext cx="3043238" cy="508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7974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0" userDrawn="1">
          <p15:clr>
            <a:srgbClr val="FBAE40"/>
          </p15:clr>
        </p15:guide>
        <p15:guide id="2" pos="2255" userDrawn="1">
          <p15:clr>
            <a:srgbClr val="FBAE40"/>
          </p15:clr>
        </p15:guide>
        <p15:guide id="3" orient="horz" pos="5216" userDrawn="1">
          <p15:clr>
            <a:srgbClr val="FBAE40"/>
          </p15:clr>
        </p15:guide>
        <p15:guide id="4" orient="horz" pos="2016" userDrawn="1">
          <p15:clr>
            <a:srgbClr val="FBAE40"/>
          </p15:clr>
        </p15:guide>
        <p15:guide id="5" orient="horz" pos="1184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CBB3E71-68E9-0C42-A1F5-AAC39EAA6D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35744" y="1871133"/>
            <a:ext cx="6386513" cy="6409267"/>
          </a:xfrm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937962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9" userDrawn="1">
          <p15:clr>
            <a:srgbClr val="FBAE40"/>
          </p15:clr>
        </p15:guide>
        <p15:guide id="2" orient="horz" pos="5216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ide-by-S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B5BA6-6E37-D642-969A-D710BEC279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744" y="1871133"/>
            <a:ext cx="3193256" cy="6409268"/>
          </a:xfrm>
          <a:solidFill>
            <a:schemeClr val="bg2"/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48D7D23-A4AE-A948-B404-C89F45ED35B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29000" y="1871133"/>
            <a:ext cx="3193256" cy="6409268"/>
          </a:xfrm>
          <a:solidFill>
            <a:schemeClr val="tx2"/>
          </a:solidFill>
        </p:spPr>
        <p:txBody>
          <a:bodyPr lIns="182880" tIns="182880" rIns="182880" bIns="18288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2623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0" userDrawn="1">
          <p15:clr>
            <a:srgbClr val="FBAE40"/>
          </p15:clr>
        </p15:guide>
        <p15:guide id="2" orient="horz" pos="1179" userDrawn="1">
          <p15:clr>
            <a:srgbClr val="FBAE40"/>
          </p15:clr>
        </p15:guide>
        <p15:guide id="3" orient="horz" pos="5216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ide-by-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B5BA6-6E37-D642-969A-D710BEC279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9000" y="1871133"/>
            <a:ext cx="3193256" cy="6409268"/>
          </a:xfrm>
          <a:solidFill>
            <a:schemeClr val="bg2"/>
          </a:solidFill>
        </p:spPr>
        <p:txBody>
          <a:bodyPr lIns="182880" tIns="182880" rIns="182880" b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48D7D23-A4AE-A948-B404-C89F45ED35B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235744" y="1871133"/>
            <a:ext cx="3193256" cy="6409268"/>
          </a:xfrm>
          <a:solidFill>
            <a:schemeClr val="tx2"/>
          </a:solidFill>
        </p:spPr>
        <p:txBody>
          <a:bodyPr lIns="182880" tIns="182880" rIns="182880" bIns="18288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92812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0" userDrawn="1">
          <p15:clr>
            <a:srgbClr val="FBAE40"/>
          </p15:clr>
        </p15:guide>
        <p15:guide id="2" orient="horz" pos="1179" userDrawn="1">
          <p15:clr>
            <a:srgbClr val="FBAE40"/>
          </p15:clr>
        </p15:guide>
        <p15:guide id="3" orient="horz" pos="5216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tatement 1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Direction Graphic">
            <a:extLst>
              <a:ext uri="{FF2B5EF4-FFF2-40B4-BE49-F238E27FC236}">
                <a16:creationId xmlns:a16="http://schemas.microsoft.com/office/drawing/2014/main" id="{6869F596-3692-3E4E-9BF3-E29D14395A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4355" y="975618"/>
            <a:ext cx="462719" cy="7031556"/>
          </a:xfrm>
          <a:prstGeom prst="rect">
            <a:avLst/>
          </a:prstGeom>
        </p:spPr>
      </p:pic>
      <p:pic>
        <p:nvPicPr>
          <p:cNvPr id="11" name="Logo">
            <a:extLst>
              <a:ext uri="{FF2B5EF4-FFF2-40B4-BE49-F238E27FC236}">
                <a16:creationId xmlns:a16="http://schemas.microsoft.com/office/drawing/2014/main" id="{C51A4843-2EB1-1445-8A49-A737C70976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1451" y="8394701"/>
            <a:ext cx="822960" cy="6985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C2E251-1249-1447-8D56-F6A4533673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59930B-38D7-924C-B6F1-36FF815DB2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7A97EF-C944-4447-B862-B593E9B4A0FF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AA982C6-876D-DD40-A175-F032C52F2D9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14500" y="821267"/>
            <a:ext cx="4907756" cy="7315200"/>
          </a:xfrm>
        </p:spPr>
        <p:txBody>
          <a:bodyPr anchor="ctr" anchorCtr="0"/>
          <a:lstStyle>
            <a:lvl1pPr marL="268217" indent="-268217">
              <a:lnSpc>
                <a:spcPct val="85000"/>
              </a:lnSpc>
              <a:spcAft>
                <a:spcPts val="1333"/>
              </a:spcAft>
              <a:defRPr sz="6667">
                <a:solidFill>
                  <a:schemeClr val="tx1"/>
                </a:solidFill>
              </a:defRPr>
            </a:lvl1pPr>
            <a:lvl2pPr marL="292601" indent="0">
              <a:lnSpc>
                <a:spcPct val="100000"/>
              </a:lnSpc>
              <a:buFont typeface="System Font Regular"/>
              <a:buNone/>
              <a:defRPr>
                <a:solidFill>
                  <a:schemeClr val="tx1"/>
                </a:solidFill>
              </a:defRPr>
            </a:lvl2pPr>
            <a:lvl3pPr marL="268217" indent="0">
              <a:lnSpc>
                <a:spcPct val="85000"/>
              </a:lnSpc>
              <a:buNone/>
              <a:defRPr sz="6667">
                <a:solidFill>
                  <a:schemeClr val="tx1"/>
                </a:solidFill>
              </a:defRPr>
            </a:lvl3pPr>
            <a:lvl4pPr marL="268217" indent="0">
              <a:lnSpc>
                <a:spcPct val="90000"/>
              </a:lnSpc>
              <a:buNone/>
              <a:defRPr sz="4267">
                <a:solidFill>
                  <a:schemeClr val="tx1"/>
                </a:solidFill>
              </a:defRPr>
            </a:lvl4pPr>
            <a:lvl5pPr marL="316984" indent="0">
              <a:lnSpc>
                <a:spcPct val="100000"/>
              </a:lnSpc>
              <a:buClr>
                <a:schemeClr val="accent4"/>
              </a:buClr>
              <a:buFont typeface="System Font Regular"/>
              <a:buNone/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5188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080" userDrawn="1">
          <p15:clr>
            <a:srgbClr val="FBAE40"/>
          </p15:clr>
        </p15:guide>
        <p15:guide id="2" orient="horz" pos="2821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tatement 2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Direction Graphic">
            <a:extLst>
              <a:ext uri="{FF2B5EF4-FFF2-40B4-BE49-F238E27FC236}">
                <a16:creationId xmlns:a16="http://schemas.microsoft.com/office/drawing/2014/main" id="{6869F596-3692-3E4E-9BF3-E29D14395A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355" y="975618"/>
            <a:ext cx="462720" cy="7031556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C2E251-1249-1447-8D56-F6A4533673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59930B-38D7-924C-B6F1-36FF815DB2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A7A97EF-C944-4447-B862-B593E9B4A0FF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AA982C6-876D-DD40-A175-F032C52F2D9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14500" y="821267"/>
            <a:ext cx="4907756" cy="7315200"/>
          </a:xfrm>
        </p:spPr>
        <p:txBody>
          <a:bodyPr anchor="ctr" anchorCtr="0"/>
          <a:lstStyle>
            <a:lvl1pPr marL="268217" indent="-268217">
              <a:lnSpc>
                <a:spcPct val="85000"/>
              </a:lnSpc>
              <a:spcAft>
                <a:spcPts val="1333"/>
              </a:spcAft>
              <a:defRPr sz="6667">
                <a:solidFill>
                  <a:schemeClr val="tx2"/>
                </a:solidFill>
              </a:defRPr>
            </a:lvl1pPr>
            <a:lvl2pPr marL="292601" indent="0">
              <a:lnSpc>
                <a:spcPct val="100000"/>
              </a:lnSpc>
              <a:buClr>
                <a:schemeClr val="tx1"/>
              </a:buClr>
              <a:buFont typeface="System Font Regular"/>
              <a:buNone/>
              <a:defRPr>
                <a:solidFill>
                  <a:schemeClr val="tx1"/>
                </a:solidFill>
              </a:defRPr>
            </a:lvl2pPr>
            <a:lvl3pPr marL="268217" indent="0">
              <a:lnSpc>
                <a:spcPct val="85000"/>
              </a:lnSpc>
              <a:buNone/>
              <a:defRPr sz="6667">
                <a:solidFill>
                  <a:schemeClr val="tx2"/>
                </a:solidFill>
              </a:defRPr>
            </a:lvl3pPr>
            <a:lvl4pPr marL="268217" indent="0">
              <a:lnSpc>
                <a:spcPct val="90000"/>
              </a:lnSpc>
              <a:buNone/>
              <a:defRPr sz="4267">
                <a:solidFill>
                  <a:schemeClr val="tx2"/>
                </a:solidFill>
              </a:defRPr>
            </a:lvl4pPr>
            <a:lvl5pPr marL="316984" indent="0">
              <a:lnSpc>
                <a:spcPct val="100000"/>
              </a:lnSpc>
              <a:buClr>
                <a:schemeClr val="tx1"/>
              </a:buClr>
              <a:buFont typeface="System Font Regular"/>
              <a:buNone/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0765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80" userDrawn="1">
          <p15:clr>
            <a:srgbClr val="FBAE40"/>
          </p15:clr>
        </p15:guide>
        <p15:guide id="2" orient="horz" pos="2821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tist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3B1222A-B6BC-654A-9FB9-359F5259273D}"/>
              </a:ext>
            </a:extLst>
          </p:cNvPr>
          <p:cNvCxnSpPr>
            <a:cxnSpLocks/>
          </p:cNvCxnSpPr>
          <p:nvPr userDrawn="1"/>
        </p:nvCxnSpPr>
        <p:spPr>
          <a:xfrm>
            <a:off x="235744" y="4131733"/>
            <a:ext cx="1969961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A4FE598-F33E-744E-936F-9801292CFF8B}"/>
              </a:ext>
            </a:extLst>
          </p:cNvPr>
          <p:cNvCxnSpPr>
            <a:cxnSpLocks/>
          </p:cNvCxnSpPr>
          <p:nvPr userDrawn="1"/>
        </p:nvCxnSpPr>
        <p:spPr>
          <a:xfrm>
            <a:off x="2366367" y="4131733"/>
            <a:ext cx="1969961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91E5130-25C4-B646-8441-8110D516CB1D}"/>
              </a:ext>
            </a:extLst>
          </p:cNvPr>
          <p:cNvCxnSpPr>
            <a:cxnSpLocks/>
          </p:cNvCxnSpPr>
          <p:nvPr userDrawn="1"/>
        </p:nvCxnSpPr>
        <p:spPr>
          <a:xfrm>
            <a:off x="4500562" y="4131733"/>
            <a:ext cx="1969961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56C95D67-F3C4-3D4F-B32A-CBAC6F0CB33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35744" y="1871133"/>
            <a:ext cx="1969961" cy="922867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D582616C-16AA-D245-94C9-5BE602638B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66367" y="1871133"/>
            <a:ext cx="1969961" cy="922867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8A9A19A4-818C-F14A-B5DE-B0DB0C798C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94210" y="1871133"/>
            <a:ext cx="1969961" cy="922867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B5BA6-6E37-D642-969A-D710BEC2790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35744" y="2794002"/>
            <a:ext cx="1969961" cy="5486397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9600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3834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marL="487668" indent="-243834">
              <a:buClr>
                <a:schemeClr val="tx1"/>
              </a:buClr>
              <a:buFont typeface="System Font Regular"/>
              <a:buChar char="–"/>
              <a:defRPr>
                <a:solidFill>
                  <a:schemeClr val="tx1"/>
                </a:solidFill>
              </a:defRPr>
            </a:lvl4pPr>
            <a:lvl5pPr marL="731502"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##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BB63C1B-3209-284E-B44A-E799A58B17A6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2366367" y="2794004"/>
            <a:ext cx="1969961" cy="5486397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9600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3834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marL="487668" indent="-243834">
              <a:buClr>
                <a:schemeClr val="tx1"/>
              </a:buClr>
              <a:buFont typeface="System Font Regular"/>
              <a:buChar char="–"/>
              <a:defRPr>
                <a:solidFill>
                  <a:schemeClr val="tx1"/>
                </a:solidFill>
              </a:defRPr>
            </a:lvl4pPr>
            <a:lvl5pPr marL="731502"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##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412F81C6-976F-8E46-9726-C1199B9E693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491633" y="2794004"/>
            <a:ext cx="1969961" cy="5486397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9600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3834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marL="487668" indent="-243834">
              <a:buClr>
                <a:schemeClr val="tx1"/>
              </a:buClr>
              <a:buFont typeface="System Font Regular"/>
              <a:buChar char="–"/>
              <a:defRPr>
                <a:solidFill>
                  <a:schemeClr val="tx1"/>
                </a:solidFill>
              </a:defRPr>
            </a:lvl4pPr>
            <a:lvl5pPr marL="731502"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##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414850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491" userDrawn="1">
          <p15:clr>
            <a:srgbClr val="FBAE40"/>
          </p15:clr>
        </p15:guide>
        <p15:guide id="2" pos="2829" userDrawn="1">
          <p15:clr>
            <a:srgbClr val="FBAE40"/>
          </p15:clr>
        </p15:guide>
        <p15:guide id="3" orient="horz" pos="1760" userDrawn="1">
          <p15:clr>
            <a:srgbClr val="FBAE40"/>
          </p15:clr>
        </p15:guide>
        <p15:guide id="4" orient="horz" pos="1179" userDrawn="1">
          <p15:clr>
            <a:srgbClr val="FBAE40"/>
          </p15:clr>
        </p15:guide>
        <p15:guide id="5" orient="horz" pos="5216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tatistic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3B1222A-B6BC-654A-9FB9-359F5259273D}"/>
              </a:ext>
            </a:extLst>
          </p:cNvPr>
          <p:cNvCxnSpPr>
            <a:cxnSpLocks/>
          </p:cNvCxnSpPr>
          <p:nvPr userDrawn="1"/>
        </p:nvCxnSpPr>
        <p:spPr>
          <a:xfrm>
            <a:off x="235744" y="4487333"/>
            <a:ext cx="1969961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56C95D67-F3C4-3D4F-B32A-CBAC6F0CB33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35744" y="1871133"/>
            <a:ext cx="1969961" cy="922867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B5BA6-6E37-D642-969A-D710BEC2790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35744" y="2794002"/>
            <a:ext cx="1969961" cy="5486399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12800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3834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marL="487668" indent="-243834">
              <a:buClr>
                <a:schemeClr val="tx1"/>
              </a:buClr>
              <a:buFont typeface="System Font Regular"/>
              <a:buChar char="–"/>
              <a:defRPr>
                <a:solidFill>
                  <a:schemeClr val="tx1"/>
                </a:solidFill>
              </a:defRPr>
            </a:lvl4pPr>
            <a:lvl5pPr marL="731502"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##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62257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orient="horz" pos="1760" userDrawn="1">
          <p15:clr>
            <a:srgbClr val="FBAE40"/>
          </p15:clr>
        </p15:guide>
        <p15:guide id="4" orient="horz" pos="1179" userDrawn="1">
          <p15:clr>
            <a:srgbClr val="FBAE40"/>
          </p15:clr>
        </p15:guide>
        <p15:guide id="5" orient="horz" pos="5216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ign-o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">
            <a:extLst>
              <a:ext uri="{FF2B5EF4-FFF2-40B4-BE49-F238E27FC236}">
                <a16:creationId xmlns:a16="http://schemas.microsoft.com/office/drawing/2014/main" id="{6E86010E-23B9-554B-8F89-DBE13C6EDC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61611" y="2902147"/>
            <a:ext cx="3934778" cy="3339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821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25ABF6-8160-8240-8064-B96381D019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981922-7652-D74D-9BCA-4EBCFEFB0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6A052B-6959-D543-893E-8089B7EFDA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76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9" userDrawn="1">
          <p15:clr>
            <a:srgbClr val="FBAE40"/>
          </p15:clr>
        </p15:guide>
        <p15:guide id="2" orient="horz" pos="5216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4 Pictur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engine&#10;&#10;Description automatically generated">
            <a:extLst>
              <a:ext uri="{FF2B5EF4-FFF2-40B4-BE49-F238E27FC236}">
                <a16:creationId xmlns:a16="http://schemas.microsoft.com/office/drawing/2014/main" id="{B79CDEEA-7CAA-B14B-AEB0-0E41F6776D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6857999" cy="91440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C33CFEB-C679-3D44-803A-CE93707844D7}"/>
              </a:ext>
            </a:extLst>
          </p:cNvPr>
          <p:cNvSpPr/>
          <p:nvPr userDrawn="1"/>
        </p:nvSpPr>
        <p:spPr>
          <a:xfrm>
            <a:off x="1" y="0"/>
            <a:ext cx="6857999" cy="9144000"/>
          </a:xfrm>
          <a:prstGeom prst="rect">
            <a:avLst/>
          </a:prstGeom>
          <a:gradFill flip="none" rotWithShape="1">
            <a:gsLst>
              <a:gs pos="3000">
                <a:schemeClr val="bg1">
                  <a:alpha val="79879"/>
                </a:schemeClr>
              </a:gs>
              <a:gs pos="58000">
                <a:schemeClr val="bg1">
                  <a:alpha val="16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>
              <a:spcAft>
                <a:spcPts val="800"/>
              </a:spcAft>
            </a:pPr>
            <a:endParaRPr lang="en-US" sz="2400" dirty="0">
              <a:solidFill>
                <a:schemeClr val="tx1"/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E390D8-FB2D-714E-887C-226EFBAA75C4}"/>
              </a:ext>
            </a:extLst>
          </p:cNvPr>
          <p:cNvCxnSpPr/>
          <p:nvPr userDrawn="1"/>
        </p:nvCxnSpPr>
        <p:spPr>
          <a:xfrm>
            <a:off x="314325" y="3767667"/>
            <a:ext cx="144018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370033-E5A1-7B48-AE34-D9C6694ED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0075" y="8657168"/>
            <a:ext cx="2571750" cy="48683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BBD7296-A283-1446-A433-EC8C6228A4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445" y="283633"/>
            <a:ext cx="1465896" cy="12442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14E021-5666-C143-A40F-6113F80F8F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0075" y="3170768"/>
            <a:ext cx="6022181" cy="2620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9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2F35A6-FF25-0745-8AB1-FA8EE7D66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0075" y="5791200"/>
            <a:ext cx="6022181" cy="1299633"/>
          </a:xfrm>
        </p:spPr>
        <p:txBody>
          <a:bodyPr>
            <a:noAutofit/>
          </a:bodyPr>
          <a:lstStyle>
            <a:lvl1pPr marL="0" indent="0" algn="l">
              <a:spcAft>
                <a:spcPts val="533"/>
              </a:spcAft>
              <a:buNone/>
              <a:defRPr sz="24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8EA8955-6D9B-B0DC-54BE-7A749F58720F}"/>
              </a:ext>
            </a:extLst>
          </p:cNvPr>
          <p:cNvCxnSpPr/>
          <p:nvPr userDrawn="1"/>
        </p:nvCxnSpPr>
        <p:spPr>
          <a:xfrm>
            <a:off x="314325" y="5967528"/>
            <a:ext cx="144018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0263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78" userDrawn="1">
          <p15:clr>
            <a:srgbClr val="FBAE40"/>
          </p15:clr>
        </p15:guide>
        <p15:guide id="2" pos="243" userDrawn="1">
          <p15:clr>
            <a:srgbClr val="FBAE40"/>
          </p15:clr>
        </p15:guide>
        <p15:guide id="3" orient="horz" pos="3648" userDrawn="1">
          <p15:clr>
            <a:srgbClr val="FBAE40"/>
          </p15:clr>
        </p15:guide>
        <p15:guide id="4" orient="horz" pos="1997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610F1B-F39E-ED41-B236-5662414DF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4623C73-94BD-B445-A22D-90F43EBA7C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597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16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74065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F5FAF5-D5D9-9E88-088D-D0062627E9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7250" y="1496484"/>
            <a:ext cx="5143500" cy="3183467"/>
          </a:xfrm>
        </p:spPr>
        <p:txBody>
          <a:bodyPr anchor="b"/>
          <a:lstStyle>
            <a:lvl1pPr algn="ctr">
              <a:defRPr sz="8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C32BB27-B0C5-D5FF-34EC-95F6226EA84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57250" y="4802717"/>
            <a:ext cx="5143500" cy="2207683"/>
          </a:xfrm>
        </p:spPr>
        <p:txBody>
          <a:bodyPr/>
          <a:lstStyle>
            <a:lvl1pPr marL="0" indent="0" algn="ctr">
              <a:buNone/>
              <a:defRPr sz="3200"/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F1800D-0209-17EB-1F2D-FBF6912BA1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B0A82D-AC8E-46BB-AB67-83C85391EE9F}" type="datetimeFigureOut">
              <a:rPr lang="en-US" smtClean="0"/>
              <a:t>12/19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A4317F-3C3E-99C6-4ECE-C44E91B798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135466-E14C-D33A-DE31-A8A00426AB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A1BE45-7014-4F5E-8D90-E95D6BC331C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52164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ustom Layout">
  <p:cSld name="1_Custom Layout"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CBF0A0F-EBA3-4DD7-8A0B-D090A42E29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8107499"/>
              </p:ext>
            </p:extLst>
          </p:nvPr>
        </p:nvGraphicFramePr>
        <p:xfrm>
          <a:off x="893" y="2118"/>
          <a:ext cx="893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CBF0A0F-EBA3-4DD7-8A0B-D090A42E29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3" y="2118"/>
                        <a:ext cx="893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1" name="Google Shape;341;p60"/>
          <p:cNvSpPr txBox="1">
            <a:spLocks noGrp="1"/>
          </p:cNvSpPr>
          <p:nvPr>
            <p:ph type="ftr" idx="11"/>
          </p:nvPr>
        </p:nvSpPr>
        <p:spPr>
          <a:xfrm>
            <a:off x="290216" y="8503278"/>
            <a:ext cx="2240620" cy="486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342" name="Google Shape;342;p60"/>
          <p:cNvSpPr txBox="1">
            <a:spLocks noGrp="1"/>
          </p:cNvSpPr>
          <p:nvPr>
            <p:ph type="sldNum" idx="12"/>
          </p:nvPr>
        </p:nvSpPr>
        <p:spPr>
          <a:xfrm>
            <a:off x="6205240" y="8500074"/>
            <a:ext cx="415532" cy="486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3" name="Google Shape;343;p60"/>
          <p:cNvSpPr txBox="1">
            <a:spLocks noGrp="1"/>
          </p:cNvSpPr>
          <p:nvPr>
            <p:ph type="title"/>
          </p:nvPr>
        </p:nvSpPr>
        <p:spPr>
          <a:xfrm>
            <a:off x="290216" y="538820"/>
            <a:ext cx="5915024" cy="13833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Rasa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4" name="Google Shape;344;p60"/>
          <p:cNvSpPr txBox="1">
            <a:spLocks noGrp="1"/>
          </p:cNvSpPr>
          <p:nvPr>
            <p:ph type="body" idx="1"/>
          </p:nvPr>
        </p:nvSpPr>
        <p:spPr>
          <a:xfrm>
            <a:off x="290216" y="2412225"/>
            <a:ext cx="6277570" cy="5541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609585" lvl="0" indent="-304792" algn="l">
              <a:lnSpc>
                <a:spcPct val="100000"/>
              </a:lnSpc>
              <a:spcBef>
                <a:spcPts val="9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asa"/>
              <a:buNone/>
              <a:defRPr/>
            </a:lvl1pPr>
            <a:lvl2pPr marL="1219170" lvl="1" indent="-457189" algn="l">
              <a:lnSpc>
                <a:spcPct val="100000"/>
              </a:lnSpc>
              <a:spcBef>
                <a:spcPts val="933"/>
              </a:spcBef>
              <a:spcAft>
                <a:spcPts val="0"/>
              </a:spcAft>
              <a:buSzPts val="1800"/>
              <a:buChar char="•"/>
              <a:defRPr/>
            </a:lvl2pPr>
            <a:lvl3pPr marL="1828754" lvl="2" indent="-367105" algn="l">
              <a:lnSpc>
                <a:spcPct val="100000"/>
              </a:lnSpc>
              <a:spcBef>
                <a:spcPts val="933"/>
              </a:spcBef>
              <a:spcAft>
                <a:spcPts val="0"/>
              </a:spcAft>
              <a:buSzPts val="736"/>
              <a:buChar char="🞆"/>
              <a:defRPr/>
            </a:lvl3pPr>
            <a:lvl4pPr marL="2438339" lvl="3" indent="-423323" algn="l">
              <a:lnSpc>
                <a:spcPct val="100000"/>
              </a:lnSpc>
              <a:spcBef>
                <a:spcPts val="9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3047924" lvl="4" indent="-351526" algn="l">
              <a:lnSpc>
                <a:spcPct val="100000"/>
              </a:lnSpc>
              <a:spcBef>
                <a:spcPts val="933"/>
              </a:spcBef>
              <a:spcAft>
                <a:spcPts val="0"/>
              </a:spcAft>
              <a:buClr>
                <a:schemeClr val="dk1"/>
              </a:buClr>
              <a:buSzPts val="552"/>
              <a:buChar char="🞆"/>
              <a:defRPr/>
            </a:lvl5pPr>
            <a:lvl6pPr marL="3657509" lvl="5" indent="-45718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4267093" lvl="6" indent="-45718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5" name="Google Shape;345;p60"/>
          <p:cNvSpPr/>
          <p:nvPr/>
        </p:nvSpPr>
        <p:spPr>
          <a:xfrm>
            <a:off x="6337087" y="685804"/>
            <a:ext cx="230698" cy="546521"/>
          </a:xfrm>
          <a:custGeom>
            <a:avLst/>
            <a:gdLst/>
            <a:ahLst/>
            <a:cxnLst/>
            <a:rect l="l" t="t" r="r" b="b"/>
            <a:pathLst>
              <a:path w="5760" h="5760" extrusionOk="0">
                <a:moveTo>
                  <a:pt x="2386" y="3095"/>
                </a:moveTo>
                <a:lnTo>
                  <a:pt x="2386" y="3095"/>
                </a:lnTo>
                <a:cubicBezTo>
                  <a:pt x="2027" y="3269"/>
                  <a:pt x="1572" y="3581"/>
                  <a:pt x="1572" y="3924"/>
                </a:cubicBezTo>
                <a:cubicBezTo>
                  <a:pt x="1572" y="4051"/>
                  <a:pt x="1635" y="4131"/>
                  <a:pt x="1754" y="4131"/>
                </a:cubicBezTo>
                <a:cubicBezTo>
                  <a:pt x="2105" y="4131"/>
                  <a:pt x="2320" y="3573"/>
                  <a:pt x="2386" y="3095"/>
                </a:cubicBezTo>
                <a:lnTo>
                  <a:pt x="2386" y="3095"/>
                </a:lnTo>
                <a:close/>
                <a:moveTo>
                  <a:pt x="2480" y="1601"/>
                </a:moveTo>
                <a:lnTo>
                  <a:pt x="2480" y="1601"/>
                </a:lnTo>
                <a:cubicBezTo>
                  <a:pt x="2480" y="1563"/>
                  <a:pt x="2458" y="1546"/>
                  <a:pt x="2425" y="1546"/>
                </a:cubicBezTo>
                <a:cubicBezTo>
                  <a:pt x="2257" y="1546"/>
                  <a:pt x="2019" y="1985"/>
                  <a:pt x="2019" y="2248"/>
                </a:cubicBezTo>
                <a:cubicBezTo>
                  <a:pt x="2281" y="2104"/>
                  <a:pt x="2480" y="1778"/>
                  <a:pt x="2480" y="1601"/>
                </a:cubicBezTo>
                <a:lnTo>
                  <a:pt x="2480" y="1601"/>
                </a:lnTo>
                <a:close/>
                <a:moveTo>
                  <a:pt x="3894" y="1634"/>
                </a:moveTo>
                <a:lnTo>
                  <a:pt x="3894" y="1634"/>
                </a:lnTo>
                <a:cubicBezTo>
                  <a:pt x="3894" y="1595"/>
                  <a:pt x="3885" y="1546"/>
                  <a:pt x="3836" y="1546"/>
                </a:cubicBezTo>
                <a:cubicBezTo>
                  <a:pt x="3717" y="1546"/>
                  <a:pt x="3527" y="1803"/>
                  <a:pt x="3527" y="2129"/>
                </a:cubicBezTo>
                <a:cubicBezTo>
                  <a:pt x="3765" y="1921"/>
                  <a:pt x="3894" y="1745"/>
                  <a:pt x="3894" y="1634"/>
                </a:cubicBezTo>
                <a:lnTo>
                  <a:pt x="3894" y="1634"/>
                </a:lnTo>
                <a:close/>
                <a:moveTo>
                  <a:pt x="4482" y="3645"/>
                </a:moveTo>
                <a:lnTo>
                  <a:pt x="4482" y="3645"/>
                </a:lnTo>
                <a:cubicBezTo>
                  <a:pt x="4482" y="4004"/>
                  <a:pt x="4173" y="4379"/>
                  <a:pt x="3717" y="4379"/>
                </a:cubicBezTo>
                <a:cubicBezTo>
                  <a:pt x="3168" y="4379"/>
                  <a:pt x="2889" y="3916"/>
                  <a:pt x="2889" y="3501"/>
                </a:cubicBezTo>
                <a:cubicBezTo>
                  <a:pt x="2889" y="2919"/>
                  <a:pt x="3287" y="2672"/>
                  <a:pt x="3455" y="2584"/>
                </a:cubicBezTo>
                <a:cubicBezTo>
                  <a:pt x="3422" y="2559"/>
                  <a:pt x="3397" y="2529"/>
                  <a:pt x="3375" y="2488"/>
                </a:cubicBezTo>
                <a:cubicBezTo>
                  <a:pt x="3182" y="2623"/>
                  <a:pt x="3008" y="2744"/>
                  <a:pt x="2640" y="2951"/>
                </a:cubicBezTo>
                <a:cubicBezTo>
                  <a:pt x="2624" y="3206"/>
                  <a:pt x="2601" y="3485"/>
                  <a:pt x="2536" y="3678"/>
                </a:cubicBezTo>
                <a:cubicBezTo>
                  <a:pt x="2400" y="4084"/>
                  <a:pt x="2121" y="4379"/>
                  <a:pt x="1754" y="4379"/>
                </a:cubicBezTo>
                <a:cubicBezTo>
                  <a:pt x="1444" y="4379"/>
                  <a:pt x="1293" y="4155"/>
                  <a:pt x="1293" y="3916"/>
                </a:cubicBezTo>
                <a:cubicBezTo>
                  <a:pt x="1293" y="3741"/>
                  <a:pt x="1395" y="3518"/>
                  <a:pt x="1580" y="3349"/>
                </a:cubicBezTo>
                <a:cubicBezTo>
                  <a:pt x="1812" y="3142"/>
                  <a:pt x="2066" y="3015"/>
                  <a:pt x="2417" y="2830"/>
                </a:cubicBezTo>
                <a:cubicBezTo>
                  <a:pt x="2425" y="2783"/>
                  <a:pt x="2433" y="2736"/>
                  <a:pt x="2442" y="2678"/>
                </a:cubicBezTo>
                <a:cubicBezTo>
                  <a:pt x="2353" y="2758"/>
                  <a:pt x="2226" y="2791"/>
                  <a:pt x="2121" y="2791"/>
                </a:cubicBezTo>
                <a:cubicBezTo>
                  <a:pt x="1955" y="2791"/>
                  <a:pt x="1818" y="2648"/>
                  <a:pt x="1787" y="2496"/>
                </a:cubicBezTo>
                <a:cubicBezTo>
                  <a:pt x="1563" y="2480"/>
                  <a:pt x="1395" y="2320"/>
                  <a:pt x="1387" y="2065"/>
                </a:cubicBezTo>
                <a:cubicBezTo>
                  <a:pt x="1387" y="1882"/>
                  <a:pt x="1459" y="1723"/>
                  <a:pt x="1580" y="1723"/>
                </a:cubicBezTo>
                <a:cubicBezTo>
                  <a:pt x="1627" y="1723"/>
                  <a:pt x="1643" y="1762"/>
                  <a:pt x="1643" y="1794"/>
                </a:cubicBezTo>
                <a:cubicBezTo>
                  <a:pt x="1643" y="1825"/>
                  <a:pt x="1602" y="1930"/>
                  <a:pt x="1602" y="2032"/>
                </a:cubicBezTo>
                <a:cubicBezTo>
                  <a:pt x="1602" y="2137"/>
                  <a:pt x="1652" y="2272"/>
                  <a:pt x="1779" y="2272"/>
                </a:cubicBezTo>
                <a:cubicBezTo>
                  <a:pt x="1779" y="1858"/>
                  <a:pt x="2082" y="1322"/>
                  <a:pt x="2442" y="1322"/>
                </a:cubicBezTo>
                <a:cubicBezTo>
                  <a:pt x="2680" y="1322"/>
                  <a:pt x="2712" y="1499"/>
                  <a:pt x="2712" y="1579"/>
                </a:cubicBezTo>
                <a:cubicBezTo>
                  <a:pt x="2712" y="1954"/>
                  <a:pt x="2337" y="2369"/>
                  <a:pt x="2033" y="2471"/>
                </a:cubicBezTo>
                <a:cubicBezTo>
                  <a:pt x="2042" y="2504"/>
                  <a:pt x="2074" y="2592"/>
                  <a:pt x="2170" y="2592"/>
                </a:cubicBezTo>
                <a:cubicBezTo>
                  <a:pt x="2290" y="2592"/>
                  <a:pt x="2433" y="2480"/>
                  <a:pt x="2505" y="2391"/>
                </a:cubicBezTo>
                <a:cubicBezTo>
                  <a:pt x="2536" y="2225"/>
                  <a:pt x="2657" y="1985"/>
                  <a:pt x="2817" y="1985"/>
                </a:cubicBezTo>
                <a:cubicBezTo>
                  <a:pt x="2880" y="1985"/>
                  <a:pt x="2911" y="2032"/>
                  <a:pt x="2911" y="2090"/>
                </a:cubicBezTo>
                <a:cubicBezTo>
                  <a:pt x="2911" y="2209"/>
                  <a:pt x="2784" y="2361"/>
                  <a:pt x="2688" y="2463"/>
                </a:cubicBezTo>
                <a:cubicBezTo>
                  <a:pt x="2673" y="2543"/>
                  <a:pt x="2665" y="2631"/>
                  <a:pt x="2665" y="2703"/>
                </a:cubicBezTo>
                <a:cubicBezTo>
                  <a:pt x="2944" y="2535"/>
                  <a:pt x="3088" y="2449"/>
                  <a:pt x="3295" y="2297"/>
                </a:cubicBezTo>
                <a:cubicBezTo>
                  <a:pt x="3279" y="2242"/>
                  <a:pt x="3279" y="2176"/>
                  <a:pt x="3279" y="2112"/>
                </a:cubicBezTo>
                <a:cubicBezTo>
                  <a:pt x="3279" y="1739"/>
                  <a:pt x="3527" y="1322"/>
                  <a:pt x="3853" y="1322"/>
                </a:cubicBezTo>
                <a:cubicBezTo>
                  <a:pt x="4037" y="1322"/>
                  <a:pt x="4131" y="1452"/>
                  <a:pt x="4131" y="1595"/>
                </a:cubicBezTo>
                <a:cubicBezTo>
                  <a:pt x="4131" y="1866"/>
                  <a:pt x="3900" y="2104"/>
                  <a:pt x="3574" y="2352"/>
                </a:cubicBezTo>
                <a:cubicBezTo>
                  <a:pt x="3599" y="2416"/>
                  <a:pt x="3637" y="2471"/>
                  <a:pt x="3701" y="2504"/>
                </a:cubicBezTo>
                <a:cubicBezTo>
                  <a:pt x="3709" y="2488"/>
                  <a:pt x="3813" y="2471"/>
                  <a:pt x="3900" y="2471"/>
                </a:cubicBezTo>
                <a:cubicBezTo>
                  <a:pt x="3996" y="2471"/>
                  <a:pt x="4131" y="2496"/>
                  <a:pt x="4131" y="2592"/>
                </a:cubicBezTo>
                <a:cubicBezTo>
                  <a:pt x="4131" y="2703"/>
                  <a:pt x="3980" y="2728"/>
                  <a:pt x="3861" y="2728"/>
                </a:cubicBezTo>
                <a:cubicBezTo>
                  <a:pt x="3797" y="2736"/>
                  <a:pt x="3693" y="2711"/>
                  <a:pt x="3693" y="2711"/>
                </a:cubicBezTo>
                <a:cubicBezTo>
                  <a:pt x="3518" y="2758"/>
                  <a:pt x="3182" y="2959"/>
                  <a:pt x="3182" y="3468"/>
                </a:cubicBezTo>
                <a:cubicBezTo>
                  <a:pt x="3182" y="3813"/>
                  <a:pt x="3397" y="4131"/>
                  <a:pt x="3734" y="4131"/>
                </a:cubicBezTo>
                <a:cubicBezTo>
                  <a:pt x="3988" y="4131"/>
                  <a:pt x="4195" y="3940"/>
                  <a:pt x="4203" y="3645"/>
                </a:cubicBezTo>
                <a:cubicBezTo>
                  <a:pt x="4204" y="3454"/>
                  <a:pt x="4123" y="3253"/>
                  <a:pt x="3933" y="3253"/>
                </a:cubicBezTo>
                <a:cubicBezTo>
                  <a:pt x="3836" y="3253"/>
                  <a:pt x="3750" y="3325"/>
                  <a:pt x="3750" y="3429"/>
                </a:cubicBezTo>
                <a:cubicBezTo>
                  <a:pt x="3742" y="3589"/>
                  <a:pt x="3861" y="3606"/>
                  <a:pt x="3861" y="3708"/>
                </a:cubicBezTo>
                <a:cubicBezTo>
                  <a:pt x="3861" y="3780"/>
                  <a:pt x="3806" y="3813"/>
                  <a:pt x="3750" y="3813"/>
                </a:cubicBezTo>
                <a:cubicBezTo>
                  <a:pt x="3590" y="3813"/>
                  <a:pt x="3469" y="3653"/>
                  <a:pt x="3469" y="3454"/>
                </a:cubicBezTo>
                <a:cubicBezTo>
                  <a:pt x="3469" y="3214"/>
                  <a:pt x="3678" y="3015"/>
                  <a:pt x="3949" y="3015"/>
                </a:cubicBezTo>
                <a:cubicBezTo>
                  <a:pt x="4300" y="3015"/>
                  <a:pt x="4482" y="3319"/>
                  <a:pt x="4482" y="3645"/>
                </a:cubicBezTo>
                <a:lnTo>
                  <a:pt x="4482" y="3645"/>
                </a:lnTo>
                <a:close/>
                <a:moveTo>
                  <a:pt x="5449" y="2880"/>
                </a:moveTo>
                <a:lnTo>
                  <a:pt x="5449" y="2880"/>
                </a:lnTo>
                <a:cubicBezTo>
                  <a:pt x="5449" y="1969"/>
                  <a:pt x="4985" y="1027"/>
                  <a:pt x="3988" y="726"/>
                </a:cubicBezTo>
                <a:cubicBezTo>
                  <a:pt x="3781" y="662"/>
                  <a:pt x="3607" y="621"/>
                  <a:pt x="3406" y="621"/>
                </a:cubicBezTo>
                <a:cubicBezTo>
                  <a:pt x="2944" y="621"/>
                  <a:pt x="2928" y="884"/>
                  <a:pt x="2712" y="884"/>
                </a:cubicBezTo>
                <a:cubicBezTo>
                  <a:pt x="2593" y="884"/>
                  <a:pt x="2513" y="798"/>
                  <a:pt x="2513" y="693"/>
                </a:cubicBezTo>
                <a:cubicBezTo>
                  <a:pt x="2513" y="510"/>
                  <a:pt x="2729" y="367"/>
                  <a:pt x="3071" y="367"/>
                </a:cubicBezTo>
                <a:cubicBezTo>
                  <a:pt x="3391" y="367"/>
                  <a:pt x="3637" y="447"/>
                  <a:pt x="3685" y="469"/>
                </a:cubicBezTo>
                <a:lnTo>
                  <a:pt x="3693" y="447"/>
                </a:lnTo>
                <a:cubicBezTo>
                  <a:pt x="3607" y="414"/>
                  <a:pt x="3303" y="309"/>
                  <a:pt x="2880" y="309"/>
                </a:cubicBezTo>
                <a:cubicBezTo>
                  <a:pt x="1961" y="309"/>
                  <a:pt x="1028" y="781"/>
                  <a:pt x="727" y="1770"/>
                </a:cubicBezTo>
                <a:cubicBezTo>
                  <a:pt x="663" y="1977"/>
                  <a:pt x="622" y="2154"/>
                  <a:pt x="622" y="2352"/>
                </a:cubicBezTo>
                <a:cubicBezTo>
                  <a:pt x="622" y="2816"/>
                  <a:pt x="885" y="2838"/>
                  <a:pt x="885" y="3054"/>
                </a:cubicBezTo>
                <a:cubicBezTo>
                  <a:pt x="885" y="3167"/>
                  <a:pt x="798" y="3247"/>
                  <a:pt x="694" y="3247"/>
                </a:cubicBezTo>
                <a:cubicBezTo>
                  <a:pt x="511" y="3247"/>
                  <a:pt x="368" y="3037"/>
                  <a:pt x="368" y="2687"/>
                </a:cubicBezTo>
                <a:cubicBezTo>
                  <a:pt x="368" y="2369"/>
                  <a:pt x="448" y="2121"/>
                  <a:pt x="462" y="2073"/>
                </a:cubicBezTo>
                <a:lnTo>
                  <a:pt x="440" y="2065"/>
                </a:lnTo>
                <a:cubicBezTo>
                  <a:pt x="415" y="2161"/>
                  <a:pt x="310" y="2457"/>
                  <a:pt x="310" y="2880"/>
                </a:cubicBezTo>
                <a:cubicBezTo>
                  <a:pt x="310" y="3805"/>
                  <a:pt x="782" y="4738"/>
                  <a:pt x="1771" y="5041"/>
                </a:cubicBezTo>
                <a:cubicBezTo>
                  <a:pt x="1978" y="5105"/>
                  <a:pt x="2154" y="5144"/>
                  <a:pt x="2353" y="5144"/>
                </a:cubicBezTo>
                <a:cubicBezTo>
                  <a:pt x="2817" y="5144"/>
                  <a:pt x="2831" y="4873"/>
                  <a:pt x="3047" y="4873"/>
                </a:cubicBezTo>
                <a:cubicBezTo>
                  <a:pt x="3160" y="4873"/>
                  <a:pt x="3248" y="4961"/>
                  <a:pt x="3248" y="5072"/>
                </a:cubicBezTo>
                <a:cubicBezTo>
                  <a:pt x="3248" y="5249"/>
                  <a:pt x="3038" y="5392"/>
                  <a:pt x="2688" y="5392"/>
                </a:cubicBezTo>
                <a:cubicBezTo>
                  <a:pt x="2370" y="5392"/>
                  <a:pt x="2113" y="5312"/>
                  <a:pt x="2074" y="5296"/>
                </a:cubicBezTo>
                <a:lnTo>
                  <a:pt x="2066" y="5320"/>
                </a:lnTo>
                <a:cubicBezTo>
                  <a:pt x="2154" y="5359"/>
                  <a:pt x="2458" y="5448"/>
                  <a:pt x="2880" y="5448"/>
                </a:cubicBezTo>
                <a:cubicBezTo>
                  <a:pt x="3797" y="5448"/>
                  <a:pt x="4739" y="4984"/>
                  <a:pt x="5034" y="3987"/>
                </a:cubicBezTo>
                <a:cubicBezTo>
                  <a:pt x="5098" y="3788"/>
                  <a:pt x="5137" y="3606"/>
                  <a:pt x="5137" y="3413"/>
                </a:cubicBezTo>
                <a:cubicBezTo>
                  <a:pt x="5137" y="2943"/>
                  <a:pt x="4874" y="2927"/>
                  <a:pt x="4874" y="2711"/>
                </a:cubicBezTo>
                <a:cubicBezTo>
                  <a:pt x="4874" y="2592"/>
                  <a:pt x="4954" y="2512"/>
                  <a:pt x="5065" y="2512"/>
                </a:cubicBezTo>
                <a:cubicBezTo>
                  <a:pt x="5250" y="2512"/>
                  <a:pt x="5393" y="2728"/>
                  <a:pt x="5393" y="3079"/>
                </a:cubicBezTo>
                <a:cubicBezTo>
                  <a:pt x="5393" y="3390"/>
                  <a:pt x="5313" y="3637"/>
                  <a:pt x="5297" y="3692"/>
                </a:cubicBezTo>
                <a:lnTo>
                  <a:pt x="5322" y="3700"/>
                </a:lnTo>
                <a:cubicBezTo>
                  <a:pt x="5352" y="3606"/>
                  <a:pt x="5449" y="3310"/>
                  <a:pt x="5449" y="2880"/>
                </a:cubicBezTo>
                <a:lnTo>
                  <a:pt x="5449" y="2880"/>
                </a:lnTo>
                <a:close/>
                <a:moveTo>
                  <a:pt x="5623" y="2880"/>
                </a:moveTo>
                <a:lnTo>
                  <a:pt x="5623" y="2880"/>
                </a:lnTo>
                <a:cubicBezTo>
                  <a:pt x="5623" y="4395"/>
                  <a:pt x="4396" y="5622"/>
                  <a:pt x="2880" y="5622"/>
                </a:cubicBezTo>
                <a:cubicBezTo>
                  <a:pt x="1364" y="5622"/>
                  <a:pt x="136" y="4395"/>
                  <a:pt x="136" y="2880"/>
                </a:cubicBezTo>
                <a:cubicBezTo>
                  <a:pt x="136" y="1363"/>
                  <a:pt x="1364" y="135"/>
                  <a:pt x="2880" y="135"/>
                </a:cubicBezTo>
                <a:cubicBezTo>
                  <a:pt x="4396" y="135"/>
                  <a:pt x="5623" y="1372"/>
                  <a:pt x="5623" y="2880"/>
                </a:cubicBezTo>
                <a:lnTo>
                  <a:pt x="5623" y="2880"/>
                </a:lnTo>
                <a:close/>
                <a:moveTo>
                  <a:pt x="5760" y="2880"/>
                </a:moveTo>
                <a:lnTo>
                  <a:pt x="5760" y="2880"/>
                </a:lnTo>
                <a:cubicBezTo>
                  <a:pt x="5760" y="1292"/>
                  <a:pt x="4468" y="0"/>
                  <a:pt x="2880" y="0"/>
                </a:cubicBezTo>
                <a:cubicBezTo>
                  <a:pt x="1293" y="0"/>
                  <a:pt x="0" y="1292"/>
                  <a:pt x="0" y="2880"/>
                </a:cubicBezTo>
                <a:cubicBezTo>
                  <a:pt x="0" y="4473"/>
                  <a:pt x="1293" y="5760"/>
                  <a:pt x="2880" y="5760"/>
                </a:cubicBezTo>
                <a:cubicBezTo>
                  <a:pt x="4468" y="5760"/>
                  <a:pt x="5760" y="4473"/>
                  <a:pt x="5760" y="288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solidFill>
                <a:schemeClr val="dk1"/>
              </a:solidFill>
              <a:latin typeface="Rasa"/>
              <a:ea typeface="Rasa"/>
              <a:cs typeface="Rasa"/>
              <a:sym typeface="Rasa"/>
            </a:endParaRPr>
          </a:p>
        </p:txBody>
      </p:sp>
    </p:spTree>
    <p:extLst>
      <p:ext uri="{BB962C8B-B14F-4D97-AF65-F5344CB8AC3E}">
        <p14:creationId xmlns:p14="http://schemas.microsoft.com/office/powerpoint/2010/main" val="15238498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53DCDC-E848-154D-88C5-683067C207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239178" indent="-239178"/>
            <a:r>
              <a:rPr lang="en-US"/>
              <a:t>Presentation Template Title Example 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6D3591-FE63-BB43-8A4C-B6F29DBE7D1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4719505-AD43-774F-936C-A3AE71DD4EE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FDAFC8E-CA28-0D44-BC65-8F7829B285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216" y="538820"/>
            <a:ext cx="5915024" cy="138333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9FBEDEA-F386-1B4A-B687-53C2F6314F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90216" y="2412225"/>
            <a:ext cx="6277570" cy="5541433"/>
          </a:xfrm>
        </p:spPr>
        <p:txBody>
          <a:bodyPr/>
          <a:lstStyle>
            <a:lvl1pPr>
              <a:spcBef>
                <a:spcPts val="933"/>
              </a:spcBef>
              <a:defRPr/>
            </a:lvl1pPr>
            <a:lvl2pPr>
              <a:spcBef>
                <a:spcPts val="933"/>
              </a:spcBef>
              <a:defRPr/>
            </a:lvl2pPr>
            <a:lvl3pPr>
              <a:spcBef>
                <a:spcPts val="933"/>
              </a:spcBef>
              <a:defRPr/>
            </a:lvl3pPr>
            <a:lvl4pPr>
              <a:spcBef>
                <a:spcPts val="933"/>
              </a:spcBef>
              <a:defRPr/>
            </a:lvl4pPr>
            <a:lvl5pPr>
              <a:spcBef>
                <a:spcPts val="933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1A7787E7-658C-4F60-81AD-5B9563BBC7E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337087" y="685804"/>
            <a:ext cx="230698" cy="546521"/>
          </a:xfrm>
          <a:custGeom>
            <a:avLst/>
            <a:gdLst>
              <a:gd name="T0" fmla="*/ 2386 w 5760"/>
              <a:gd name="T1" fmla="*/ 3095 h 5760"/>
              <a:gd name="T2" fmla="*/ 1754 w 5760"/>
              <a:gd name="T3" fmla="*/ 4131 h 5760"/>
              <a:gd name="T4" fmla="*/ 2386 w 5760"/>
              <a:gd name="T5" fmla="*/ 3095 h 5760"/>
              <a:gd name="T6" fmla="*/ 2480 w 5760"/>
              <a:gd name="T7" fmla="*/ 1601 h 5760"/>
              <a:gd name="T8" fmla="*/ 2019 w 5760"/>
              <a:gd name="T9" fmla="*/ 2248 h 5760"/>
              <a:gd name="T10" fmla="*/ 2480 w 5760"/>
              <a:gd name="T11" fmla="*/ 1601 h 5760"/>
              <a:gd name="T12" fmla="*/ 3894 w 5760"/>
              <a:gd name="T13" fmla="*/ 1634 h 5760"/>
              <a:gd name="T14" fmla="*/ 3527 w 5760"/>
              <a:gd name="T15" fmla="*/ 2129 h 5760"/>
              <a:gd name="T16" fmla="*/ 3894 w 5760"/>
              <a:gd name="T17" fmla="*/ 1634 h 5760"/>
              <a:gd name="T18" fmla="*/ 4482 w 5760"/>
              <a:gd name="T19" fmla="*/ 3645 h 5760"/>
              <a:gd name="T20" fmla="*/ 2889 w 5760"/>
              <a:gd name="T21" fmla="*/ 3501 h 5760"/>
              <a:gd name="T22" fmla="*/ 3375 w 5760"/>
              <a:gd name="T23" fmla="*/ 2488 h 5760"/>
              <a:gd name="T24" fmla="*/ 2536 w 5760"/>
              <a:gd name="T25" fmla="*/ 3678 h 5760"/>
              <a:gd name="T26" fmla="*/ 1293 w 5760"/>
              <a:gd name="T27" fmla="*/ 3916 h 5760"/>
              <a:gd name="T28" fmla="*/ 2417 w 5760"/>
              <a:gd name="T29" fmla="*/ 2830 h 5760"/>
              <a:gd name="T30" fmla="*/ 2121 w 5760"/>
              <a:gd name="T31" fmla="*/ 2791 h 5760"/>
              <a:gd name="T32" fmla="*/ 1387 w 5760"/>
              <a:gd name="T33" fmla="*/ 2065 h 5760"/>
              <a:gd name="T34" fmla="*/ 1643 w 5760"/>
              <a:gd name="T35" fmla="*/ 1794 h 5760"/>
              <a:gd name="T36" fmla="*/ 1779 w 5760"/>
              <a:gd name="T37" fmla="*/ 2272 h 5760"/>
              <a:gd name="T38" fmla="*/ 2712 w 5760"/>
              <a:gd name="T39" fmla="*/ 1579 h 5760"/>
              <a:gd name="T40" fmla="*/ 2170 w 5760"/>
              <a:gd name="T41" fmla="*/ 2592 h 5760"/>
              <a:gd name="T42" fmla="*/ 2817 w 5760"/>
              <a:gd name="T43" fmla="*/ 1985 h 5760"/>
              <a:gd name="T44" fmla="*/ 2688 w 5760"/>
              <a:gd name="T45" fmla="*/ 2463 h 5760"/>
              <a:gd name="T46" fmla="*/ 3295 w 5760"/>
              <a:gd name="T47" fmla="*/ 2297 h 5760"/>
              <a:gd name="T48" fmla="*/ 3853 w 5760"/>
              <a:gd name="T49" fmla="*/ 1322 h 5760"/>
              <a:gd name="T50" fmla="*/ 3574 w 5760"/>
              <a:gd name="T51" fmla="*/ 2352 h 5760"/>
              <a:gd name="T52" fmla="*/ 3900 w 5760"/>
              <a:gd name="T53" fmla="*/ 2471 h 5760"/>
              <a:gd name="T54" fmla="*/ 3861 w 5760"/>
              <a:gd name="T55" fmla="*/ 2728 h 5760"/>
              <a:gd name="T56" fmla="*/ 3182 w 5760"/>
              <a:gd name="T57" fmla="*/ 3468 h 5760"/>
              <a:gd name="T58" fmla="*/ 4203 w 5760"/>
              <a:gd name="T59" fmla="*/ 3645 h 5760"/>
              <a:gd name="T60" fmla="*/ 3750 w 5760"/>
              <a:gd name="T61" fmla="*/ 3429 h 5760"/>
              <a:gd name="T62" fmla="*/ 3750 w 5760"/>
              <a:gd name="T63" fmla="*/ 3813 h 5760"/>
              <a:gd name="T64" fmla="*/ 3949 w 5760"/>
              <a:gd name="T65" fmla="*/ 3015 h 5760"/>
              <a:gd name="T66" fmla="*/ 4482 w 5760"/>
              <a:gd name="T67" fmla="*/ 3645 h 5760"/>
              <a:gd name="T68" fmla="*/ 5449 w 5760"/>
              <a:gd name="T69" fmla="*/ 2880 h 5760"/>
              <a:gd name="T70" fmla="*/ 3406 w 5760"/>
              <a:gd name="T71" fmla="*/ 621 h 5760"/>
              <a:gd name="T72" fmla="*/ 2513 w 5760"/>
              <a:gd name="T73" fmla="*/ 693 h 5760"/>
              <a:gd name="T74" fmla="*/ 3685 w 5760"/>
              <a:gd name="T75" fmla="*/ 469 h 5760"/>
              <a:gd name="T76" fmla="*/ 2880 w 5760"/>
              <a:gd name="T77" fmla="*/ 309 h 5760"/>
              <a:gd name="T78" fmla="*/ 622 w 5760"/>
              <a:gd name="T79" fmla="*/ 2352 h 5760"/>
              <a:gd name="T80" fmla="*/ 694 w 5760"/>
              <a:gd name="T81" fmla="*/ 3247 h 5760"/>
              <a:gd name="T82" fmla="*/ 462 w 5760"/>
              <a:gd name="T83" fmla="*/ 2073 h 5760"/>
              <a:gd name="T84" fmla="*/ 310 w 5760"/>
              <a:gd name="T85" fmla="*/ 2880 h 5760"/>
              <a:gd name="T86" fmla="*/ 2353 w 5760"/>
              <a:gd name="T87" fmla="*/ 5144 h 5760"/>
              <a:gd name="T88" fmla="*/ 3248 w 5760"/>
              <a:gd name="T89" fmla="*/ 5072 h 5760"/>
              <a:gd name="T90" fmla="*/ 2074 w 5760"/>
              <a:gd name="T91" fmla="*/ 5296 h 5760"/>
              <a:gd name="T92" fmla="*/ 2880 w 5760"/>
              <a:gd name="T93" fmla="*/ 5448 h 5760"/>
              <a:gd name="T94" fmla="*/ 5137 w 5760"/>
              <a:gd name="T95" fmla="*/ 3413 h 5760"/>
              <a:gd name="T96" fmla="*/ 5065 w 5760"/>
              <a:gd name="T97" fmla="*/ 2512 h 5760"/>
              <a:gd name="T98" fmla="*/ 5297 w 5760"/>
              <a:gd name="T99" fmla="*/ 3692 h 5760"/>
              <a:gd name="T100" fmla="*/ 5449 w 5760"/>
              <a:gd name="T101" fmla="*/ 2880 h 5760"/>
              <a:gd name="T102" fmla="*/ 5623 w 5760"/>
              <a:gd name="T103" fmla="*/ 2880 h 5760"/>
              <a:gd name="T104" fmla="*/ 2880 w 5760"/>
              <a:gd name="T105" fmla="*/ 5622 h 5760"/>
              <a:gd name="T106" fmla="*/ 2880 w 5760"/>
              <a:gd name="T107" fmla="*/ 135 h 5760"/>
              <a:gd name="T108" fmla="*/ 5623 w 5760"/>
              <a:gd name="T109" fmla="*/ 2880 h 5760"/>
              <a:gd name="T110" fmla="*/ 5760 w 5760"/>
              <a:gd name="T111" fmla="*/ 2880 h 5760"/>
              <a:gd name="T112" fmla="*/ 0 w 5760"/>
              <a:gd name="T113" fmla="*/ 2880 h 5760"/>
              <a:gd name="T114" fmla="*/ 5760 w 5760"/>
              <a:gd name="T115" fmla="*/ 2880 h 5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760" h="5760">
                <a:moveTo>
                  <a:pt x="2386" y="3095"/>
                </a:moveTo>
                <a:lnTo>
                  <a:pt x="2386" y="3095"/>
                </a:lnTo>
                <a:cubicBezTo>
                  <a:pt x="2027" y="3269"/>
                  <a:pt x="1572" y="3581"/>
                  <a:pt x="1572" y="3924"/>
                </a:cubicBezTo>
                <a:cubicBezTo>
                  <a:pt x="1572" y="4051"/>
                  <a:pt x="1635" y="4131"/>
                  <a:pt x="1754" y="4131"/>
                </a:cubicBezTo>
                <a:cubicBezTo>
                  <a:pt x="2105" y="4131"/>
                  <a:pt x="2320" y="3573"/>
                  <a:pt x="2386" y="3095"/>
                </a:cubicBezTo>
                <a:lnTo>
                  <a:pt x="2386" y="3095"/>
                </a:lnTo>
                <a:close/>
                <a:moveTo>
                  <a:pt x="2480" y="1601"/>
                </a:moveTo>
                <a:lnTo>
                  <a:pt x="2480" y="1601"/>
                </a:lnTo>
                <a:cubicBezTo>
                  <a:pt x="2480" y="1563"/>
                  <a:pt x="2458" y="1546"/>
                  <a:pt x="2425" y="1546"/>
                </a:cubicBezTo>
                <a:cubicBezTo>
                  <a:pt x="2257" y="1546"/>
                  <a:pt x="2019" y="1985"/>
                  <a:pt x="2019" y="2248"/>
                </a:cubicBezTo>
                <a:cubicBezTo>
                  <a:pt x="2281" y="2104"/>
                  <a:pt x="2480" y="1778"/>
                  <a:pt x="2480" y="1601"/>
                </a:cubicBezTo>
                <a:lnTo>
                  <a:pt x="2480" y="1601"/>
                </a:lnTo>
                <a:close/>
                <a:moveTo>
                  <a:pt x="3894" y="1634"/>
                </a:moveTo>
                <a:lnTo>
                  <a:pt x="3894" y="1634"/>
                </a:lnTo>
                <a:cubicBezTo>
                  <a:pt x="3894" y="1595"/>
                  <a:pt x="3885" y="1546"/>
                  <a:pt x="3836" y="1546"/>
                </a:cubicBezTo>
                <a:cubicBezTo>
                  <a:pt x="3717" y="1546"/>
                  <a:pt x="3527" y="1803"/>
                  <a:pt x="3527" y="2129"/>
                </a:cubicBezTo>
                <a:cubicBezTo>
                  <a:pt x="3765" y="1921"/>
                  <a:pt x="3894" y="1745"/>
                  <a:pt x="3894" y="1634"/>
                </a:cubicBezTo>
                <a:lnTo>
                  <a:pt x="3894" y="1634"/>
                </a:lnTo>
                <a:close/>
                <a:moveTo>
                  <a:pt x="4482" y="3645"/>
                </a:moveTo>
                <a:lnTo>
                  <a:pt x="4482" y="3645"/>
                </a:lnTo>
                <a:cubicBezTo>
                  <a:pt x="4482" y="4004"/>
                  <a:pt x="4173" y="4379"/>
                  <a:pt x="3717" y="4379"/>
                </a:cubicBezTo>
                <a:cubicBezTo>
                  <a:pt x="3168" y="4379"/>
                  <a:pt x="2889" y="3916"/>
                  <a:pt x="2889" y="3501"/>
                </a:cubicBezTo>
                <a:cubicBezTo>
                  <a:pt x="2889" y="2919"/>
                  <a:pt x="3287" y="2672"/>
                  <a:pt x="3455" y="2584"/>
                </a:cubicBezTo>
                <a:cubicBezTo>
                  <a:pt x="3422" y="2559"/>
                  <a:pt x="3397" y="2529"/>
                  <a:pt x="3375" y="2488"/>
                </a:cubicBezTo>
                <a:cubicBezTo>
                  <a:pt x="3182" y="2623"/>
                  <a:pt x="3008" y="2744"/>
                  <a:pt x="2640" y="2951"/>
                </a:cubicBezTo>
                <a:cubicBezTo>
                  <a:pt x="2624" y="3206"/>
                  <a:pt x="2601" y="3485"/>
                  <a:pt x="2536" y="3678"/>
                </a:cubicBezTo>
                <a:cubicBezTo>
                  <a:pt x="2400" y="4084"/>
                  <a:pt x="2121" y="4379"/>
                  <a:pt x="1754" y="4379"/>
                </a:cubicBezTo>
                <a:cubicBezTo>
                  <a:pt x="1444" y="4379"/>
                  <a:pt x="1293" y="4155"/>
                  <a:pt x="1293" y="3916"/>
                </a:cubicBezTo>
                <a:cubicBezTo>
                  <a:pt x="1293" y="3741"/>
                  <a:pt x="1395" y="3518"/>
                  <a:pt x="1580" y="3349"/>
                </a:cubicBezTo>
                <a:cubicBezTo>
                  <a:pt x="1812" y="3142"/>
                  <a:pt x="2066" y="3015"/>
                  <a:pt x="2417" y="2830"/>
                </a:cubicBezTo>
                <a:cubicBezTo>
                  <a:pt x="2425" y="2783"/>
                  <a:pt x="2433" y="2736"/>
                  <a:pt x="2442" y="2678"/>
                </a:cubicBezTo>
                <a:cubicBezTo>
                  <a:pt x="2353" y="2758"/>
                  <a:pt x="2226" y="2791"/>
                  <a:pt x="2121" y="2791"/>
                </a:cubicBezTo>
                <a:cubicBezTo>
                  <a:pt x="1955" y="2791"/>
                  <a:pt x="1818" y="2648"/>
                  <a:pt x="1787" y="2496"/>
                </a:cubicBezTo>
                <a:cubicBezTo>
                  <a:pt x="1563" y="2480"/>
                  <a:pt x="1395" y="2320"/>
                  <a:pt x="1387" y="2065"/>
                </a:cubicBezTo>
                <a:cubicBezTo>
                  <a:pt x="1387" y="1882"/>
                  <a:pt x="1459" y="1723"/>
                  <a:pt x="1580" y="1723"/>
                </a:cubicBezTo>
                <a:cubicBezTo>
                  <a:pt x="1627" y="1723"/>
                  <a:pt x="1643" y="1762"/>
                  <a:pt x="1643" y="1794"/>
                </a:cubicBezTo>
                <a:cubicBezTo>
                  <a:pt x="1643" y="1825"/>
                  <a:pt x="1602" y="1930"/>
                  <a:pt x="1602" y="2032"/>
                </a:cubicBezTo>
                <a:cubicBezTo>
                  <a:pt x="1602" y="2137"/>
                  <a:pt x="1652" y="2272"/>
                  <a:pt x="1779" y="2272"/>
                </a:cubicBezTo>
                <a:cubicBezTo>
                  <a:pt x="1779" y="1858"/>
                  <a:pt x="2082" y="1322"/>
                  <a:pt x="2442" y="1322"/>
                </a:cubicBezTo>
                <a:cubicBezTo>
                  <a:pt x="2680" y="1322"/>
                  <a:pt x="2712" y="1499"/>
                  <a:pt x="2712" y="1579"/>
                </a:cubicBezTo>
                <a:cubicBezTo>
                  <a:pt x="2712" y="1954"/>
                  <a:pt x="2337" y="2369"/>
                  <a:pt x="2033" y="2471"/>
                </a:cubicBezTo>
                <a:cubicBezTo>
                  <a:pt x="2042" y="2504"/>
                  <a:pt x="2074" y="2592"/>
                  <a:pt x="2170" y="2592"/>
                </a:cubicBezTo>
                <a:cubicBezTo>
                  <a:pt x="2290" y="2592"/>
                  <a:pt x="2433" y="2480"/>
                  <a:pt x="2505" y="2391"/>
                </a:cubicBezTo>
                <a:cubicBezTo>
                  <a:pt x="2536" y="2225"/>
                  <a:pt x="2657" y="1985"/>
                  <a:pt x="2817" y="1985"/>
                </a:cubicBezTo>
                <a:cubicBezTo>
                  <a:pt x="2880" y="1985"/>
                  <a:pt x="2911" y="2032"/>
                  <a:pt x="2911" y="2090"/>
                </a:cubicBezTo>
                <a:cubicBezTo>
                  <a:pt x="2911" y="2209"/>
                  <a:pt x="2784" y="2361"/>
                  <a:pt x="2688" y="2463"/>
                </a:cubicBezTo>
                <a:cubicBezTo>
                  <a:pt x="2673" y="2543"/>
                  <a:pt x="2665" y="2631"/>
                  <a:pt x="2665" y="2703"/>
                </a:cubicBezTo>
                <a:cubicBezTo>
                  <a:pt x="2944" y="2535"/>
                  <a:pt x="3088" y="2449"/>
                  <a:pt x="3295" y="2297"/>
                </a:cubicBezTo>
                <a:cubicBezTo>
                  <a:pt x="3279" y="2242"/>
                  <a:pt x="3279" y="2176"/>
                  <a:pt x="3279" y="2112"/>
                </a:cubicBezTo>
                <a:cubicBezTo>
                  <a:pt x="3279" y="1739"/>
                  <a:pt x="3527" y="1322"/>
                  <a:pt x="3853" y="1322"/>
                </a:cubicBezTo>
                <a:cubicBezTo>
                  <a:pt x="4037" y="1322"/>
                  <a:pt x="4131" y="1452"/>
                  <a:pt x="4131" y="1595"/>
                </a:cubicBezTo>
                <a:cubicBezTo>
                  <a:pt x="4131" y="1866"/>
                  <a:pt x="3900" y="2104"/>
                  <a:pt x="3574" y="2352"/>
                </a:cubicBezTo>
                <a:cubicBezTo>
                  <a:pt x="3599" y="2416"/>
                  <a:pt x="3637" y="2471"/>
                  <a:pt x="3701" y="2504"/>
                </a:cubicBezTo>
                <a:cubicBezTo>
                  <a:pt x="3709" y="2488"/>
                  <a:pt x="3813" y="2471"/>
                  <a:pt x="3900" y="2471"/>
                </a:cubicBezTo>
                <a:cubicBezTo>
                  <a:pt x="3996" y="2471"/>
                  <a:pt x="4131" y="2496"/>
                  <a:pt x="4131" y="2592"/>
                </a:cubicBezTo>
                <a:cubicBezTo>
                  <a:pt x="4131" y="2703"/>
                  <a:pt x="3980" y="2728"/>
                  <a:pt x="3861" y="2728"/>
                </a:cubicBezTo>
                <a:cubicBezTo>
                  <a:pt x="3797" y="2736"/>
                  <a:pt x="3693" y="2711"/>
                  <a:pt x="3693" y="2711"/>
                </a:cubicBezTo>
                <a:cubicBezTo>
                  <a:pt x="3518" y="2758"/>
                  <a:pt x="3182" y="2959"/>
                  <a:pt x="3182" y="3468"/>
                </a:cubicBezTo>
                <a:cubicBezTo>
                  <a:pt x="3182" y="3813"/>
                  <a:pt x="3397" y="4131"/>
                  <a:pt x="3734" y="4131"/>
                </a:cubicBezTo>
                <a:cubicBezTo>
                  <a:pt x="3988" y="4131"/>
                  <a:pt x="4195" y="3940"/>
                  <a:pt x="4203" y="3645"/>
                </a:cubicBezTo>
                <a:cubicBezTo>
                  <a:pt x="4204" y="3454"/>
                  <a:pt x="4123" y="3253"/>
                  <a:pt x="3933" y="3253"/>
                </a:cubicBezTo>
                <a:cubicBezTo>
                  <a:pt x="3836" y="3253"/>
                  <a:pt x="3750" y="3325"/>
                  <a:pt x="3750" y="3429"/>
                </a:cubicBezTo>
                <a:cubicBezTo>
                  <a:pt x="3742" y="3589"/>
                  <a:pt x="3861" y="3606"/>
                  <a:pt x="3861" y="3708"/>
                </a:cubicBezTo>
                <a:cubicBezTo>
                  <a:pt x="3861" y="3780"/>
                  <a:pt x="3806" y="3813"/>
                  <a:pt x="3750" y="3813"/>
                </a:cubicBezTo>
                <a:cubicBezTo>
                  <a:pt x="3590" y="3813"/>
                  <a:pt x="3469" y="3653"/>
                  <a:pt x="3469" y="3454"/>
                </a:cubicBezTo>
                <a:cubicBezTo>
                  <a:pt x="3469" y="3214"/>
                  <a:pt x="3678" y="3015"/>
                  <a:pt x="3949" y="3015"/>
                </a:cubicBezTo>
                <a:cubicBezTo>
                  <a:pt x="4300" y="3015"/>
                  <a:pt x="4482" y="3319"/>
                  <a:pt x="4482" y="3645"/>
                </a:cubicBezTo>
                <a:lnTo>
                  <a:pt x="4482" y="3645"/>
                </a:lnTo>
                <a:close/>
                <a:moveTo>
                  <a:pt x="5449" y="2880"/>
                </a:moveTo>
                <a:lnTo>
                  <a:pt x="5449" y="2880"/>
                </a:lnTo>
                <a:cubicBezTo>
                  <a:pt x="5449" y="1969"/>
                  <a:pt x="4985" y="1027"/>
                  <a:pt x="3988" y="726"/>
                </a:cubicBezTo>
                <a:cubicBezTo>
                  <a:pt x="3781" y="662"/>
                  <a:pt x="3607" y="621"/>
                  <a:pt x="3406" y="621"/>
                </a:cubicBezTo>
                <a:cubicBezTo>
                  <a:pt x="2944" y="621"/>
                  <a:pt x="2928" y="884"/>
                  <a:pt x="2712" y="884"/>
                </a:cubicBezTo>
                <a:cubicBezTo>
                  <a:pt x="2593" y="884"/>
                  <a:pt x="2513" y="798"/>
                  <a:pt x="2513" y="693"/>
                </a:cubicBezTo>
                <a:cubicBezTo>
                  <a:pt x="2513" y="510"/>
                  <a:pt x="2729" y="367"/>
                  <a:pt x="3071" y="367"/>
                </a:cubicBezTo>
                <a:cubicBezTo>
                  <a:pt x="3391" y="367"/>
                  <a:pt x="3637" y="447"/>
                  <a:pt x="3685" y="469"/>
                </a:cubicBezTo>
                <a:lnTo>
                  <a:pt x="3693" y="447"/>
                </a:lnTo>
                <a:cubicBezTo>
                  <a:pt x="3607" y="414"/>
                  <a:pt x="3303" y="309"/>
                  <a:pt x="2880" y="309"/>
                </a:cubicBezTo>
                <a:cubicBezTo>
                  <a:pt x="1961" y="309"/>
                  <a:pt x="1028" y="781"/>
                  <a:pt x="727" y="1770"/>
                </a:cubicBezTo>
                <a:cubicBezTo>
                  <a:pt x="663" y="1977"/>
                  <a:pt x="622" y="2154"/>
                  <a:pt x="622" y="2352"/>
                </a:cubicBezTo>
                <a:cubicBezTo>
                  <a:pt x="622" y="2816"/>
                  <a:pt x="885" y="2838"/>
                  <a:pt x="885" y="3054"/>
                </a:cubicBezTo>
                <a:cubicBezTo>
                  <a:pt x="885" y="3167"/>
                  <a:pt x="798" y="3247"/>
                  <a:pt x="694" y="3247"/>
                </a:cubicBezTo>
                <a:cubicBezTo>
                  <a:pt x="511" y="3247"/>
                  <a:pt x="368" y="3037"/>
                  <a:pt x="368" y="2687"/>
                </a:cubicBezTo>
                <a:cubicBezTo>
                  <a:pt x="368" y="2369"/>
                  <a:pt x="448" y="2121"/>
                  <a:pt x="462" y="2073"/>
                </a:cubicBezTo>
                <a:lnTo>
                  <a:pt x="440" y="2065"/>
                </a:lnTo>
                <a:cubicBezTo>
                  <a:pt x="415" y="2161"/>
                  <a:pt x="310" y="2457"/>
                  <a:pt x="310" y="2880"/>
                </a:cubicBezTo>
                <a:cubicBezTo>
                  <a:pt x="310" y="3805"/>
                  <a:pt x="782" y="4738"/>
                  <a:pt x="1771" y="5041"/>
                </a:cubicBezTo>
                <a:cubicBezTo>
                  <a:pt x="1978" y="5105"/>
                  <a:pt x="2154" y="5144"/>
                  <a:pt x="2353" y="5144"/>
                </a:cubicBezTo>
                <a:cubicBezTo>
                  <a:pt x="2817" y="5144"/>
                  <a:pt x="2831" y="4873"/>
                  <a:pt x="3047" y="4873"/>
                </a:cubicBezTo>
                <a:cubicBezTo>
                  <a:pt x="3160" y="4873"/>
                  <a:pt x="3248" y="4961"/>
                  <a:pt x="3248" y="5072"/>
                </a:cubicBezTo>
                <a:cubicBezTo>
                  <a:pt x="3248" y="5249"/>
                  <a:pt x="3038" y="5392"/>
                  <a:pt x="2688" y="5392"/>
                </a:cubicBezTo>
                <a:cubicBezTo>
                  <a:pt x="2370" y="5392"/>
                  <a:pt x="2113" y="5312"/>
                  <a:pt x="2074" y="5296"/>
                </a:cubicBezTo>
                <a:lnTo>
                  <a:pt x="2066" y="5320"/>
                </a:lnTo>
                <a:cubicBezTo>
                  <a:pt x="2154" y="5359"/>
                  <a:pt x="2458" y="5448"/>
                  <a:pt x="2880" y="5448"/>
                </a:cubicBezTo>
                <a:cubicBezTo>
                  <a:pt x="3797" y="5448"/>
                  <a:pt x="4739" y="4984"/>
                  <a:pt x="5034" y="3987"/>
                </a:cubicBezTo>
                <a:cubicBezTo>
                  <a:pt x="5098" y="3788"/>
                  <a:pt x="5137" y="3606"/>
                  <a:pt x="5137" y="3413"/>
                </a:cubicBezTo>
                <a:cubicBezTo>
                  <a:pt x="5137" y="2943"/>
                  <a:pt x="4874" y="2927"/>
                  <a:pt x="4874" y="2711"/>
                </a:cubicBezTo>
                <a:cubicBezTo>
                  <a:pt x="4874" y="2592"/>
                  <a:pt x="4954" y="2512"/>
                  <a:pt x="5065" y="2512"/>
                </a:cubicBezTo>
                <a:cubicBezTo>
                  <a:pt x="5250" y="2512"/>
                  <a:pt x="5393" y="2728"/>
                  <a:pt x="5393" y="3079"/>
                </a:cubicBezTo>
                <a:cubicBezTo>
                  <a:pt x="5393" y="3390"/>
                  <a:pt x="5313" y="3637"/>
                  <a:pt x="5297" y="3692"/>
                </a:cubicBezTo>
                <a:lnTo>
                  <a:pt x="5322" y="3700"/>
                </a:lnTo>
                <a:cubicBezTo>
                  <a:pt x="5352" y="3606"/>
                  <a:pt x="5449" y="3310"/>
                  <a:pt x="5449" y="2880"/>
                </a:cubicBezTo>
                <a:lnTo>
                  <a:pt x="5449" y="2880"/>
                </a:lnTo>
                <a:close/>
                <a:moveTo>
                  <a:pt x="5623" y="2880"/>
                </a:moveTo>
                <a:lnTo>
                  <a:pt x="5623" y="2880"/>
                </a:lnTo>
                <a:cubicBezTo>
                  <a:pt x="5623" y="4395"/>
                  <a:pt x="4396" y="5622"/>
                  <a:pt x="2880" y="5622"/>
                </a:cubicBezTo>
                <a:cubicBezTo>
                  <a:pt x="1364" y="5622"/>
                  <a:pt x="136" y="4395"/>
                  <a:pt x="136" y="2880"/>
                </a:cubicBezTo>
                <a:cubicBezTo>
                  <a:pt x="136" y="1363"/>
                  <a:pt x="1364" y="135"/>
                  <a:pt x="2880" y="135"/>
                </a:cubicBezTo>
                <a:cubicBezTo>
                  <a:pt x="4396" y="135"/>
                  <a:pt x="5623" y="1372"/>
                  <a:pt x="5623" y="2880"/>
                </a:cubicBezTo>
                <a:lnTo>
                  <a:pt x="5623" y="2880"/>
                </a:lnTo>
                <a:close/>
                <a:moveTo>
                  <a:pt x="5760" y="2880"/>
                </a:moveTo>
                <a:lnTo>
                  <a:pt x="5760" y="2880"/>
                </a:lnTo>
                <a:cubicBezTo>
                  <a:pt x="5760" y="1292"/>
                  <a:pt x="4468" y="0"/>
                  <a:pt x="2880" y="0"/>
                </a:cubicBezTo>
                <a:cubicBezTo>
                  <a:pt x="1293" y="0"/>
                  <a:pt x="0" y="1292"/>
                  <a:pt x="0" y="2880"/>
                </a:cubicBezTo>
                <a:cubicBezTo>
                  <a:pt x="0" y="4473"/>
                  <a:pt x="1293" y="5760"/>
                  <a:pt x="2880" y="5760"/>
                </a:cubicBezTo>
                <a:cubicBezTo>
                  <a:pt x="4468" y="5760"/>
                  <a:pt x="5760" y="4473"/>
                  <a:pt x="5760" y="2880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B25BEF0-B62C-47A8-87D3-31329A8E62E1}"/>
              </a:ext>
            </a:extLst>
          </p:cNvPr>
          <p:cNvSpPr txBox="1"/>
          <p:nvPr userDrawn="1"/>
        </p:nvSpPr>
        <p:spPr>
          <a:xfrm>
            <a:off x="562571" y="8500073"/>
            <a:ext cx="5642670" cy="36636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algn="ctr">
              <a:spcBef>
                <a:spcPts val="1600"/>
              </a:spcBef>
            </a:pPr>
            <a:r>
              <a:rPr lang="en-US" sz="1067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Not for distribution. Confidential draft for planning purposes only. No plans shall be finalized and/or implemented until the completion of appropriate engagement with works councils and/or other employee representatives as required in accordance with local law.​</a:t>
            </a:r>
            <a:endParaRPr lang="en-US" sz="1067" i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436262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6"/>
          <p:cNvSpPr txBox="1">
            <a:spLocks noGrp="1"/>
          </p:cNvSpPr>
          <p:nvPr>
            <p:ph type="ftr" idx="11"/>
          </p:nvPr>
        </p:nvSpPr>
        <p:spPr>
          <a:xfrm>
            <a:off x="290216" y="8503278"/>
            <a:ext cx="2240620" cy="486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317" name="Google Shape;317;p56"/>
          <p:cNvSpPr txBox="1">
            <a:spLocks noGrp="1"/>
          </p:cNvSpPr>
          <p:nvPr>
            <p:ph type="sldNum" idx="12"/>
          </p:nvPr>
        </p:nvSpPr>
        <p:spPr>
          <a:xfrm>
            <a:off x="6205240" y="8500074"/>
            <a:ext cx="415532" cy="4868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8" name="Google Shape;318;p56"/>
          <p:cNvSpPr txBox="1">
            <a:spLocks noGrp="1"/>
          </p:cNvSpPr>
          <p:nvPr>
            <p:ph type="title"/>
          </p:nvPr>
        </p:nvSpPr>
        <p:spPr>
          <a:xfrm>
            <a:off x="285525" y="539009"/>
            <a:ext cx="5868450" cy="1210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Rasa"/>
              <a:buNone/>
              <a:defRPr b="0" i="0" u="none" strike="noStrike">
                <a:solidFill>
                  <a:schemeClr val="dk1"/>
                </a:solidFill>
                <a:latin typeface="Rasa"/>
                <a:ea typeface="Rasa"/>
                <a:cs typeface="Rasa"/>
                <a:sym typeface="Ras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9" name="Google Shape;319;p56"/>
          <p:cNvSpPr/>
          <p:nvPr/>
        </p:nvSpPr>
        <p:spPr>
          <a:xfrm>
            <a:off x="6337087" y="685804"/>
            <a:ext cx="230698" cy="546521"/>
          </a:xfrm>
          <a:custGeom>
            <a:avLst/>
            <a:gdLst/>
            <a:ahLst/>
            <a:cxnLst/>
            <a:rect l="l" t="t" r="r" b="b"/>
            <a:pathLst>
              <a:path w="5760" h="5760" extrusionOk="0">
                <a:moveTo>
                  <a:pt x="2386" y="3095"/>
                </a:moveTo>
                <a:lnTo>
                  <a:pt x="2386" y="3095"/>
                </a:lnTo>
                <a:cubicBezTo>
                  <a:pt x="2027" y="3269"/>
                  <a:pt x="1572" y="3581"/>
                  <a:pt x="1572" y="3924"/>
                </a:cubicBezTo>
                <a:cubicBezTo>
                  <a:pt x="1572" y="4051"/>
                  <a:pt x="1635" y="4131"/>
                  <a:pt x="1754" y="4131"/>
                </a:cubicBezTo>
                <a:cubicBezTo>
                  <a:pt x="2105" y="4131"/>
                  <a:pt x="2320" y="3573"/>
                  <a:pt x="2386" y="3095"/>
                </a:cubicBezTo>
                <a:lnTo>
                  <a:pt x="2386" y="3095"/>
                </a:lnTo>
                <a:close/>
                <a:moveTo>
                  <a:pt x="2480" y="1601"/>
                </a:moveTo>
                <a:lnTo>
                  <a:pt x="2480" y="1601"/>
                </a:lnTo>
                <a:cubicBezTo>
                  <a:pt x="2480" y="1563"/>
                  <a:pt x="2458" y="1546"/>
                  <a:pt x="2425" y="1546"/>
                </a:cubicBezTo>
                <a:cubicBezTo>
                  <a:pt x="2257" y="1546"/>
                  <a:pt x="2019" y="1985"/>
                  <a:pt x="2019" y="2248"/>
                </a:cubicBezTo>
                <a:cubicBezTo>
                  <a:pt x="2281" y="2104"/>
                  <a:pt x="2480" y="1778"/>
                  <a:pt x="2480" y="1601"/>
                </a:cubicBezTo>
                <a:lnTo>
                  <a:pt x="2480" y="1601"/>
                </a:lnTo>
                <a:close/>
                <a:moveTo>
                  <a:pt x="3894" y="1634"/>
                </a:moveTo>
                <a:lnTo>
                  <a:pt x="3894" y="1634"/>
                </a:lnTo>
                <a:cubicBezTo>
                  <a:pt x="3894" y="1595"/>
                  <a:pt x="3885" y="1546"/>
                  <a:pt x="3836" y="1546"/>
                </a:cubicBezTo>
                <a:cubicBezTo>
                  <a:pt x="3717" y="1546"/>
                  <a:pt x="3527" y="1803"/>
                  <a:pt x="3527" y="2129"/>
                </a:cubicBezTo>
                <a:cubicBezTo>
                  <a:pt x="3765" y="1921"/>
                  <a:pt x="3894" y="1745"/>
                  <a:pt x="3894" y="1634"/>
                </a:cubicBezTo>
                <a:lnTo>
                  <a:pt x="3894" y="1634"/>
                </a:lnTo>
                <a:close/>
                <a:moveTo>
                  <a:pt x="4482" y="3645"/>
                </a:moveTo>
                <a:lnTo>
                  <a:pt x="4482" y="3645"/>
                </a:lnTo>
                <a:cubicBezTo>
                  <a:pt x="4482" y="4004"/>
                  <a:pt x="4173" y="4379"/>
                  <a:pt x="3717" y="4379"/>
                </a:cubicBezTo>
                <a:cubicBezTo>
                  <a:pt x="3168" y="4379"/>
                  <a:pt x="2889" y="3916"/>
                  <a:pt x="2889" y="3501"/>
                </a:cubicBezTo>
                <a:cubicBezTo>
                  <a:pt x="2889" y="2919"/>
                  <a:pt x="3287" y="2672"/>
                  <a:pt x="3455" y="2584"/>
                </a:cubicBezTo>
                <a:cubicBezTo>
                  <a:pt x="3422" y="2559"/>
                  <a:pt x="3397" y="2529"/>
                  <a:pt x="3375" y="2488"/>
                </a:cubicBezTo>
                <a:cubicBezTo>
                  <a:pt x="3182" y="2623"/>
                  <a:pt x="3008" y="2744"/>
                  <a:pt x="2640" y="2951"/>
                </a:cubicBezTo>
                <a:cubicBezTo>
                  <a:pt x="2624" y="3206"/>
                  <a:pt x="2601" y="3485"/>
                  <a:pt x="2536" y="3678"/>
                </a:cubicBezTo>
                <a:cubicBezTo>
                  <a:pt x="2400" y="4084"/>
                  <a:pt x="2121" y="4379"/>
                  <a:pt x="1754" y="4379"/>
                </a:cubicBezTo>
                <a:cubicBezTo>
                  <a:pt x="1444" y="4379"/>
                  <a:pt x="1293" y="4155"/>
                  <a:pt x="1293" y="3916"/>
                </a:cubicBezTo>
                <a:cubicBezTo>
                  <a:pt x="1293" y="3741"/>
                  <a:pt x="1395" y="3518"/>
                  <a:pt x="1580" y="3349"/>
                </a:cubicBezTo>
                <a:cubicBezTo>
                  <a:pt x="1812" y="3142"/>
                  <a:pt x="2066" y="3015"/>
                  <a:pt x="2417" y="2830"/>
                </a:cubicBezTo>
                <a:cubicBezTo>
                  <a:pt x="2425" y="2783"/>
                  <a:pt x="2433" y="2736"/>
                  <a:pt x="2442" y="2678"/>
                </a:cubicBezTo>
                <a:cubicBezTo>
                  <a:pt x="2353" y="2758"/>
                  <a:pt x="2226" y="2791"/>
                  <a:pt x="2121" y="2791"/>
                </a:cubicBezTo>
                <a:cubicBezTo>
                  <a:pt x="1955" y="2791"/>
                  <a:pt x="1818" y="2648"/>
                  <a:pt x="1787" y="2496"/>
                </a:cubicBezTo>
                <a:cubicBezTo>
                  <a:pt x="1563" y="2480"/>
                  <a:pt x="1395" y="2320"/>
                  <a:pt x="1387" y="2065"/>
                </a:cubicBezTo>
                <a:cubicBezTo>
                  <a:pt x="1387" y="1882"/>
                  <a:pt x="1459" y="1723"/>
                  <a:pt x="1580" y="1723"/>
                </a:cubicBezTo>
                <a:cubicBezTo>
                  <a:pt x="1627" y="1723"/>
                  <a:pt x="1643" y="1762"/>
                  <a:pt x="1643" y="1794"/>
                </a:cubicBezTo>
                <a:cubicBezTo>
                  <a:pt x="1643" y="1825"/>
                  <a:pt x="1602" y="1930"/>
                  <a:pt x="1602" y="2032"/>
                </a:cubicBezTo>
                <a:cubicBezTo>
                  <a:pt x="1602" y="2137"/>
                  <a:pt x="1652" y="2272"/>
                  <a:pt x="1779" y="2272"/>
                </a:cubicBezTo>
                <a:cubicBezTo>
                  <a:pt x="1779" y="1858"/>
                  <a:pt x="2082" y="1322"/>
                  <a:pt x="2442" y="1322"/>
                </a:cubicBezTo>
                <a:cubicBezTo>
                  <a:pt x="2680" y="1322"/>
                  <a:pt x="2712" y="1499"/>
                  <a:pt x="2712" y="1579"/>
                </a:cubicBezTo>
                <a:cubicBezTo>
                  <a:pt x="2712" y="1954"/>
                  <a:pt x="2337" y="2369"/>
                  <a:pt x="2033" y="2471"/>
                </a:cubicBezTo>
                <a:cubicBezTo>
                  <a:pt x="2042" y="2504"/>
                  <a:pt x="2074" y="2592"/>
                  <a:pt x="2170" y="2592"/>
                </a:cubicBezTo>
                <a:cubicBezTo>
                  <a:pt x="2290" y="2592"/>
                  <a:pt x="2433" y="2480"/>
                  <a:pt x="2505" y="2391"/>
                </a:cubicBezTo>
                <a:cubicBezTo>
                  <a:pt x="2536" y="2225"/>
                  <a:pt x="2657" y="1985"/>
                  <a:pt x="2817" y="1985"/>
                </a:cubicBezTo>
                <a:cubicBezTo>
                  <a:pt x="2880" y="1985"/>
                  <a:pt x="2911" y="2032"/>
                  <a:pt x="2911" y="2090"/>
                </a:cubicBezTo>
                <a:cubicBezTo>
                  <a:pt x="2911" y="2209"/>
                  <a:pt x="2784" y="2361"/>
                  <a:pt x="2688" y="2463"/>
                </a:cubicBezTo>
                <a:cubicBezTo>
                  <a:pt x="2673" y="2543"/>
                  <a:pt x="2665" y="2631"/>
                  <a:pt x="2665" y="2703"/>
                </a:cubicBezTo>
                <a:cubicBezTo>
                  <a:pt x="2944" y="2535"/>
                  <a:pt x="3088" y="2449"/>
                  <a:pt x="3295" y="2297"/>
                </a:cubicBezTo>
                <a:cubicBezTo>
                  <a:pt x="3279" y="2242"/>
                  <a:pt x="3279" y="2176"/>
                  <a:pt x="3279" y="2112"/>
                </a:cubicBezTo>
                <a:cubicBezTo>
                  <a:pt x="3279" y="1739"/>
                  <a:pt x="3527" y="1322"/>
                  <a:pt x="3853" y="1322"/>
                </a:cubicBezTo>
                <a:cubicBezTo>
                  <a:pt x="4037" y="1322"/>
                  <a:pt x="4131" y="1452"/>
                  <a:pt x="4131" y="1595"/>
                </a:cubicBezTo>
                <a:cubicBezTo>
                  <a:pt x="4131" y="1866"/>
                  <a:pt x="3900" y="2104"/>
                  <a:pt x="3574" y="2352"/>
                </a:cubicBezTo>
                <a:cubicBezTo>
                  <a:pt x="3599" y="2416"/>
                  <a:pt x="3637" y="2471"/>
                  <a:pt x="3701" y="2504"/>
                </a:cubicBezTo>
                <a:cubicBezTo>
                  <a:pt x="3709" y="2488"/>
                  <a:pt x="3813" y="2471"/>
                  <a:pt x="3900" y="2471"/>
                </a:cubicBezTo>
                <a:cubicBezTo>
                  <a:pt x="3996" y="2471"/>
                  <a:pt x="4131" y="2496"/>
                  <a:pt x="4131" y="2592"/>
                </a:cubicBezTo>
                <a:cubicBezTo>
                  <a:pt x="4131" y="2703"/>
                  <a:pt x="3980" y="2728"/>
                  <a:pt x="3861" y="2728"/>
                </a:cubicBezTo>
                <a:cubicBezTo>
                  <a:pt x="3797" y="2736"/>
                  <a:pt x="3693" y="2711"/>
                  <a:pt x="3693" y="2711"/>
                </a:cubicBezTo>
                <a:cubicBezTo>
                  <a:pt x="3518" y="2758"/>
                  <a:pt x="3182" y="2959"/>
                  <a:pt x="3182" y="3468"/>
                </a:cubicBezTo>
                <a:cubicBezTo>
                  <a:pt x="3182" y="3813"/>
                  <a:pt x="3397" y="4131"/>
                  <a:pt x="3734" y="4131"/>
                </a:cubicBezTo>
                <a:cubicBezTo>
                  <a:pt x="3988" y="4131"/>
                  <a:pt x="4195" y="3940"/>
                  <a:pt x="4203" y="3645"/>
                </a:cubicBezTo>
                <a:cubicBezTo>
                  <a:pt x="4204" y="3454"/>
                  <a:pt x="4123" y="3253"/>
                  <a:pt x="3933" y="3253"/>
                </a:cubicBezTo>
                <a:cubicBezTo>
                  <a:pt x="3836" y="3253"/>
                  <a:pt x="3750" y="3325"/>
                  <a:pt x="3750" y="3429"/>
                </a:cubicBezTo>
                <a:cubicBezTo>
                  <a:pt x="3742" y="3589"/>
                  <a:pt x="3861" y="3606"/>
                  <a:pt x="3861" y="3708"/>
                </a:cubicBezTo>
                <a:cubicBezTo>
                  <a:pt x="3861" y="3780"/>
                  <a:pt x="3806" y="3813"/>
                  <a:pt x="3750" y="3813"/>
                </a:cubicBezTo>
                <a:cubicBezTo>
                  <a:pt x="3590" y="3813"/>
                  <a:pt x="3469" y="3653"/>
                  <a:pt x="3469" y="3454"/>
                </a:cubicBezTo>
                <a:cubicBezTo>
                  <a:pt x="3469" y="3214"/>
                  <a:pt x="3678" y="3015"/>
                  <a:pt x="3949" y="3015"/>
                </a:cubicBezTo>
                <a:cubicBezTo>
                  <a:pt x="4300" y="3015"/>
                  <a:pt x="4482" y="3319"/>
                  <a:pt x="4482" y="3645"/>
                </a:cubicBezTo>
                <a:lnTo>
                  <a:pt x="4482" y="3645"/>
                </a:lnTo>
                <a:close/>
                <a:moveTo>
                  <a:pt x="5449" y="2880"/>
                </a:moveTo>
                <a:lnTo>
                  <a:pt x="5449" y="2880"/>
                </a:lnTo>
                <a:cubicBezTo>
                  <a:pt x="5449" y="1969"/>
                  <a:pt x="4985" y="1027"/>
                  <a:pt x="3988" y="726"/>
                </a:cubicBezTo>
                <a:cubicBezTo>
                  <a:pt x="3781" y="662"/>
                  <a:pt x="3607" y="621"/>
                  <a:pt x="3406" y="621"/>
                </a:cubicBezTo>
                <a:cubicBezTo>
                  <a:pt x="2944" y="621"/>
                  <a:pt x="2928" y="884"/>
                  <a:pt x="2712" y="884"/>
                </a:cubicBezTo>
                <a:cubicBezTo>
                  <a:pt x="2593" y="884"/>
                  <a:pt x="2513" y="798"/>
                  <a:pt x="2513" y="693"/>
                </a:cubicBezTo>
                <a:cubicBezTo>
                  <a:pt x="2513" y="510"/>
                  <a:pt x="2729" y="367"/>
                  <a:pt x="3071" y="367"/>
                </a:cubicBezTo>
                <a:cubicBezTo>
                  <a:pt x="3391" y="367"/>
                  <a:pt x="3637" y="447"/>
                  <a:pt x="3685" y="469"/>
                </a:cubicBezTo>
                <a:lnTo>
                  <a:pt x="3693" y="447"/>
                </a:lnTo>
                <a:cubicBezTo>
                  <a:pt x="3607" y="414"/>
                  <a:pt x="3303" y="309"/>
                  <a:pt x="2880" y="309"/>
                </a:cubicBezTo>
                <a:cubicBezTo>
                  <a:pt x="1961" y="309"/>
                  <a:pt x="1028" y="781"/>
                  <a:pt x="727" y="1770"/>
                </a:cubicBezTo>
                <a:cubicBezTo>
                  <a:pt x="663" y="1977"/>
                  <a:pt x="622" y="2154"/>
                  <a:pt x="622" y="2352"/>
                </a:cubicBezTo>
                <a:cubicBezTo>
                  <a:pt x="622" y="2816"/>
                  <a:pt x="885" y="2838"/>
                  <a:pt x="885" y="3054"/>
                </a:cubicBezTo>
                <a:cubicBezTo>
                  <a:pt x="885" y="3167"/>
                  <a:pt x="798" y="3247"/>
                  <a:pt x="694" y="3247"/>
                </a:cubicBezTo>
                <a:cubicBezTo>
                  <a:pt x="511" y="3247"/>
                  <a:pt x="368" y="3037"/>
                  <a:pt x="368" y="2687"/>
                </a:cubicBezTo>
                <a:cubicBezTo>
                  <a:pt x="368" y="2369"/>
                  <a:pt x="448" y="2121"/>
                  <a:pt x="462" y="2073"/>
                </a:cubicBezTo>
                <a:lnTo>
                  <a:pt x="440" y="2065"/>
                </a:lnTo>
                <a:cubicBezTo>
                  <a:pt x="415" y="2161"/>
                  <a:pt x="310" y="2457"/>
                  <a:pt x="310" y="2880"/>
                </a:cubicBezTo>
                <a:cubicBezTo>
                  <a:pt x="310" y="3805"/>
                  <a:pt x="782" y="4738"/>
                  <a:pt x="1771" y="5041"/>
                </a:cubicBezTo>
                <a:cubicBezTo>
                  <a:pt x="1978" y="5105"/>
                  <a:pt x="2154" y="5144"/>
                  <a:pt x="2353" y="5144"/>
                </a:cubicBezTo>
                <a:cubicBezTo>
                  <a:pt x="2817" y="5144"/>
                  <a:pt x="2831" y="4873"/>
                  <a:pt x="3047" y="4873"/>
                </a:cubicBezTo>
                <a:cubicBezTo>
                  <a:pt x="3160" y="4873"/>
                  <a:pt x="3248" y="4961"/>
                  <a:pt x="3248" y="5072"/>
                </a:cubicBezTo>
                <a:cubicBezTo>
                  <a:pt x="3248" y="5249"/>
                  <a:pt x="3038" y="5392"/>
                  <a:pt x="2688" y="5392"/>
                </a:cubicBezTo>
                <a:cubicBezTo>
                  <a:pt x="2370" y="5392"/>
                  <a:pt x="2113" y="5312"/>
                  <a:pt x="2074" y="5296"/>
                </a:cubicBezTo>
                <a:lnTo>
                  <a:pt x="2066" y="5320"/>
                </a:lnTo>
                <a:cubicBezTo>
                  <a:pt x="2154" y="5359"/>
                  <a:pt x="2458" y="5448"/>
                  <a:pt x="2880" y="5448"/>
                </a:cubicBezTo>
                <a:cubicBezTo>
                  <a:pt x="3797" y="5448"/>
                  <a:pt x="4739" y="4984"/>
                  <a:pt x="5034" y="3987"/>
                </a:cubicBezTo>
                <a:cubicBezTo>
                  <a:pt x="5098" y="3788"/>
                  <a:pt x="5137" y="3606"/>
                  <a:pt x="5137" y="3413"/>
                </a:cubicBezTo>
                <a:cubicBezTo>
                  <a:pt x="5137" y="2943"/>
                  <a:pt x="4874" y="2927"/>
                  <a:pt x="4874" y="2711"/>
                </a:cubicBezTo>
                <a:cubicBezTo>
                  <a:pt x="4874" y="2592"/>
                  <a:pt x="4954" y="2512"/>
                  <a:pt x="5065" y="2512"/>
                </a:cubicBezTo>
                <a:cubicBezTo>
                  <a:pt x="5250" y="2512"/>
                  <a:pt x="5393" y="2728"/>
                  <a:pt x="5393" y="3079"/>
                </a:cubicBezTo>
                <a:cubicBezTo>
                  <a:pt x="5393" y="3390"/>
                  <a:pt x="5313" y="3637"/>
                  <a:pt x="5297" y="3692"/>
                </a:cubicBezTo>
                <a:lnTo>
                  <a:pt x="5322" y="3700"/>
                </a:lnTo>
                <a:cubicBezTo>
                  <a:pt x="5352" y="3606"/>
                  <a:pt x="5449" y="3310"/>
                  <a:pt x="5449" y="2880"/>
                </a:cubicBezTo>
                <a:lnTo>
                  <a:pt x="5449" y="2880"/>
                </a:lnTo>
                <a:close/>
                <a:moveTo>
                  <a:pt x="5623" y="2880"/>
                </a:moveTo>
                <a:lnTo>
                  <a:pt x="5623" y="2880"/>
                </a:lnTo>
                <a:cubicBezTo>
                  <a:pt x="5623" y="4395"/>
                  <a:pt x="4396" y="5622"/>
                  <a:pt x="2880" y="5622"/>
                </a:cubicBezTo>
                <a:cubicBezTo>
                  <a:pt x="1364" y="5622"/>
                  <a:pt x="136" y="4395"/>
                  <a:pt x="136" y="2880"/>
                </a:cubicBezTo>
                <a:cubicBezTo>
                  <a:pt x="136" y="1363"/>
                  <a:pt x="1364" y="135"/>
                  <a:pt x="2880" y="135"/>
                </a:cubicBezTo>
                <a:cubicBezTo>
                  <a:pt x="4396" y="135"/>
                  <a:pt x="5623" y="1372"/>
                  <a:pt x="5623" y="2880"/>
                </a:cubicBezTo>
                <a:lnTo>
                  <a:pt x="5623" y="2880"/>
                </a:lnTo>
                <a:close/>
                <a:moveTo>
                  <a:pt x="5760" y="2880"/>
                </a:moveTo>
                <a:lnTo>
                  <a:pt x="5760" y="2880"/>
                </a:lnTo>
                <a:cubicBezTo>
                  <a:pt x="5760" y="1292"/>
                  <a:pt x="4468" y="0"/>
                  <a:pt x="2880" y="0"/>
                </a:cubicBezTo>
                <a:cubicBezTo>
                  <a:pt x="1293" y="0"/>
                  <a:pt x="0" y="1292"/>
                  <a:pt x="0" y="2880"/>
                </a:cubicBezTo>
                <a:cubicBezTo>
                  <a:pt x="0" y="4473"/>
                  <a:pt x="1293" y="5760"/>
                  <a:pt x="2880" y="5760"/>
                </a:cubicBezTo>
                <a:cubicBezTo>
                  <a:pt x="4468" y="5760"/>
                  <a:pt x="5760" y="4473"/>
                  <a:pt x="5760" y="2880"/>
                </a:cubicBezTo>
                <a:close/>
              </a:path>
            </a:pathLst>
          </a:custGeom>
          <a:solidFill>
            <a:srgbClr val="005EB8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dirty="0">
              <a:solidFill>
                <a:schemeClr val="dk1"/>
              </a:solidFill>
              <a:latin typeface="Rasa"/>
              <a:ea typeface="Rasa"/>
              <a:cs typeface="Rasa"/>
              <a:sym typeface="Rasa"/>
            </a:endParaRPr>
          </a:p>
        </p:txBody>
      </p:sp>
    </p:spTree>
    <p:extLst>
      <p:ext uri="{BB962C8B-B14F-4D97-AF65-F5344CB8AC3E}">
        <p14:creationId xmlns:p14="http://schemas.microsoft.com/office/powerpoint/2010/main" val="10052184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points - 2 column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39EEE9-16B0-E64C-AF8E-E2978231F6C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14719505-AD43-774F-936C-A3AE71DD4EE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581B1F80-9239-A646-9D55-06779B823652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291608" y="3090811"/>
            <a:ext cx="3037880" cy="4860072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 sz="2400"/>
            </a:lvl2pPr>
            <a:lvl3pPr marL="469888" indent="-173562">
              <a:spcBef>
                <a:spcPts val="533"/>
              </a:spcBef>
              <a:defRPr sz="2133"/>
            </a:lvl3pPr>
            <a:lvl4pPr marL="698483" indent="-160863">
              <a:spcBef>
                <a:spcPts val="400"/>
              </a:spcBef>
              <a:defRPr/>
            </a:lvl4pPr>
            <a:lvl5pPr marL="891095" indent="-154513">
              <a:spcBef>
                <a:spcPts val="267"/>
              </a:spcBef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63C1943C-A020-7040-9469-18C8CA39D8BE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3532186" y="3090811"/>
            <a:ext cx="3037880" cy="4860072"/>
          </a:xfrm>
        </p:spPr>
        <p:txBody>
          <a:bodyPr/>
          <a:lstStyle>
            <a:lvl1pPr>
              <a:spcBef>
                <a:spcPts val="800"/>
              </a:spcBef>
              <a:defRPr lang="en-GB" dirty="0"/>
            </a:lvl1pPr>
            <a:lvl2pPr>
              <a:spcBef>
                <a:spcPts val="800"/>
              </a:spcBef>
              <a:defRPr lang="en-GB" dirty="0"/>
            </a:lvl2pPr>
            <a:lvl3pPr marL="469888" indent="-173562">
              <a:spcBef>
                <a:spcPts val="533"/>
              </a:spcBef>
              <a:defRPr lang="en-GB" dirty="0"/>
            </a:lvl3pPr>
            <a:lvl4pPr marL="698483" indent="-160863">
              <a:spcBef>
                <a:spcPts val="400"/>
              </a:spcBef>
              <a:defRPr lang="en-GB" dirty="0"/>
            </a:lvl4pPr>
            <a:lvl5pPr marL="891095" indent="-154513">
              <a:spcBef>
                <a:spcPts val="267"/>
              </a:spcBef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DD1FF68C-C63D-9049-856E-8DE70527D45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3532187" y="2408863"/>
            <a:ext cx="3037445" cy="34713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 cap="none" spc="0" baseline="0">
                <a:solidFill>
                  <a:schemeClr val="accent1"/>
                </a:solidFill>
              </a:defRPr>
            </a:lvl1pPr>
            <a:lvl2pPr>
              <a:defRPr sz="1533">
                <a:solidFill>
                  <a:schemeClr val="tx1"/>
                </a:solidFill>
              </a:defRPr>
            </a:lvl2pPr>
            <a:lvl3pPr>
              <a:defRPr sz="1533">
                <a:solidFill>
                  <a:schemeClr val="tx1"/>
                </a:solidFill>
              </a:defRPr>
            </a:lvl3pPr>
            <a:lvl4pPr>
              <a:defRPr sz="1533">
                <a:solidFill>
                  <a:schemeClr val="tx1"/>
                </a:solidFill>
              </a:defRPr>
            </a:lvl4pPr>
            <a:lvl5pPr>
              <a:defRPr sz="15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A79E41C9-D150-CF4D-83DC-664D90A1706D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291608" y="2408863"/>
            <a:ext cx="3037445" cy="34713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 cap="none" spc="0" baseline="0">
                <a:solidFill>
                  <a:schemeClr val="accent1"/>
                </a:solidFill>
              </a:defRPr>
            </a:lvl1pPr>
            <a:lvl2pPr>
              <a:defRPr sz="1533">
                <a:solidFill>
                  <a:schemeClr val="tx1"/>
                </a:solidFill>
              </a:defRPr>
            </a:lvl2pPr>
            <a:lvl3pPr>
              <a:defRPr sz="1533">
                <a:solidFill>
                  <a:schemeClr val="tx1"/>
                </a:solidFill>
              </a:defRPr>
            </a:lvl3pPr>
            <a:lvl4pPr>
              <a:defRPr sz="1533">
                <a:solidFill>
                  <a:schemeClr val="tx1"/>
                </a:solidFill>
              </a:defRPr>
            </a:lvl4pPr>
            <a:lvl5pPr>
              <a:defRPr sz="15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983C791C-FB3C-4A9E-AD6A-E0A2BB11F72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337087" y="685804"/>
            <a:ext cx="230698" cy="546521"/>
          </a:xfrm>
          <a:custGeom>
            <a:avLst/>
            <a:gdLst>
              <a:gd name="T0" fmla="*/ 2386 w 5760"/>
              <a:gd name="T1" fmla="*/ 3095 h 5760"/>
              <a:gd name="T2" fmla="*/ 1754 w 5760"/>
              <a:gd name="T3" fmla="*/ 4131 h 5760"/>
              <a:gd name="T4" fmla="*/ 2386 w 5760"/>
              <a:gd name="T5" fmla="*/ 3095 h 5760"/>
              <a:gd name="T6" fmla="*/ 2480 w 5760"/>
              <a:gd name="T7" fmla="*/ 1601 h 5760"/>
              <a:gd name="T8" fmla="*/ 2019 w 5760"/>
              <a:gd name="T9" fmla="*/ 2248 h 5760"/>
              <a:gd name="T10" fmla="*/ 2480 w 5760"/>
              <a:gd name="T11" fmla="*/ 1601 h 5760"/>
              <a:gd name="T12" fmla="*/ 3894 w 5760"/>
              <a:gd name="T13" fmla="*/ 1634 h 5760"/>
              <a:gd name="T14" fmla="*/ 3527 w 5760"/>
              <a:gd name="T15" fmla="*/ 2129 h 5760"/>
              <a:gd name="T16" fmla="*/ 3894 w 5760"/>
              <a:gd name="T17" fmla="*/ 1634 h 5760"/>
              <a:gd name="T18" fmla="*/ 4482 w 5760"/>
              <a:gd name="T19" fmla="*/ 3645 h 5760"/>
              <a:gd name="T20" fmla="*/ 2889 w 5760"/>
              <a:gd name="T21" fmla="*/ 3501 h 5760"/>
              <a:gd name="T22" fmla="*/ 3375 w 5760"/>
              <a:gd name="T23" fmla="*/ 2488 h 5760"/>
              <a:gd name="T24" fmla="*/ 2536 w 5760"/>
              <a:gd name="T25" fmla="*/ 3678 h 5760"/>
              <a:gd name="T26" fmla="*/ 1293 w 5760"/>
              <a:gd name="T27" fmla="*/ 3916 h 5760"/>
              <a:gd name="T28" fmla="*/ 2417 w 5760"/>
              <a:gd name="T29" fmla="*/ 2830 h 5760"/>
              <a:gd name="T30" fmla="*/ 2121 w 5760"/>
              <a:gd name="T31" fmla="*/ 2791 h 5760"/>
              <a:gd name="T32" fmla="*/ 1387 w 5760"/>
              <a:gd name="T33" fmla="*/ 2065 h 5760"/>
              <a:gd name="T34" fmla="*/ 1643 w 5760"/>
              <a:gd name="T35" fmla="*/ 1794 h 5760"/>
              <a:gd name="T36" fmla="*/ 1779 w 5760"/>
              <a:gd name="T37" fmla="*/ 2272 h 5760"/>
              <a:gd name="T38" fmla="*/ 2712 w 5760"/>
              <a:gd name="T39" fmla="*/ 1579 h 5760"/>
              <a:gd name="T40" fmla="*/ 2170 w 5760"/>
              <a:gd name="T41" fmla="*/ 2592 h 5760"/>
              <a:gd name="T42" fmla="*/ 2817 w 5760"/>
              <a:gd name="T43" fmla="*/ 1985 h 5760"/>
              <a:gd name="T44" fmla="*/ 2688 w 5760"/>
              <a:gd name="T45" fmla="*/ 2463 h 5760"/>
              <a:gd name="T46" fmla="*/ 3295 w 5760"/>
              <a:gd name="T47" fmla="*/ 2297 h 5760"/>
              <a:gd name="T48" fmla="*/ 3853 w 5760"/>
              <a:gd name="T49" fmla="*/ 1322 h 5760"/>
              <a:gd name="T50" fmla="*/ 3574 w 5760"/>
              <a:gd name="T51" fmla="*/ 2352 h 5760"/>
              <a:gd name="T52" fmla="*/ 3900 w 5760"/>
              <a:gd name="T53" fmla="*/ 2471 h 5760"/>
              <a:gd name="T54" fmla="*/ 3861 w 5760"/>
              <a:gd name="T55" fmla="*/ 2728 h 5760"/>
              <a:gd name="T56" fmla="*/ 3182 w 5760"/>
              <a:gd name="T57" fmla="*/ 3468 h 5760"/>
              <a:gd name="T58" fmla="*/ 4203 w 5760"/>
              <a:gd name="T59" fmla="*/ 3645 h 5760"/>
              <a:gd name="T60" fmla="*/ 3750 w 5760"/>
              <a:gd name="T61" fmla="*/ 3429 h 5760"/>
              <a:gd name="T62" fmla="*/ 3750 w 5760"/>
              <a:gd name="T63" fmla="*/ 3813 h 5760"/>
              <a:gd name="T64" fmla="*/ 3949 w 5760"/>
              <a:gd name="T65" fmla="*/ 3015 h 5760"/>
              <a:gd name="T66" fmla="*/ 4482 w 5760"/>
              <a:gd name="T67" fmla="*/ 3645 h 5760"/>
              <a:gd name="T68" fmla="*/ 5449 w 5760"/>
              <a:gd name="T69" fmla="*/ 2880 h 5760"/>
              <a:gd name="T70" fmla="*/ 3406 w 5760"/>
              <a:gd name="T71" fmla="*/ 621 h 5760"/>
              <a:gd name="T72" fmla="*/ 2513 w 5760"/>
              <a:gd name="T73" fmla="*/ 693 h 5760"/>
              <a:gd name="T74" fmla="*/ 3685 w 5760"/>
              <a:gd name="T75" fmla="*/ 469 h 5760"/>
              <a:gd name="T76" fmla="*/ 2880 w 5760"/>
              <a:gd name="T77" fmla="*/ 309 h 5760"/>
              <a:gd name="T78" fmla="*/ 622 w 5760"/>
              <a:gd name="T79" fmla="*/ 2352 h 5760"/>
              <a:gd name="T80" fmla="*/ 694 w 5760"/>
              <a:gd name="T81" fmla="*/ 3247 h 5760"/>
              <a:gd name="T82" fmla="*/ 462 w 5760"/>
              <a:gd name="T83" fmla="*/ 2073 h 5760"/>
              <a:gd name="T84" fmla="*/ 310 w 5760"/>
              <a:gd name="T85" fmla="*/ 2880 h 5760"/>
              <a:gd name="T86" fmla="*/ 2353 w 5760"/>
              <a:gd name="T87" fmla="*/ 5144 h 5760"/>
              <a:gd name="T88" fmla="*/ 3248 w 5760"/>
              <a:gd name="T89" fmla="*/ 5072 h 5760"/>
              <a:gd name="T90" fmla="*/ 2074 w 5760"/>
              <a:gd name="T91" fmla="*/ 5296 h 5760"/>
              <a:gd name="T92" fmla="*/ 2880 w 5760"/>
              <a:gd name="T93" fmla="*/ 5448 h 5760"/>
              <a:gd name="T94" fmla="*/ 5137 w 5760"/>
              <a:gd name="T95" fmla="*/ 3413 h 5760"/>
              <a:gd name="T96" fmla="*/ 5065 w 5760"/>
              <a:gd name="T97" fmla="*/ 2512 h 5760"/>
              <a:gd name="T98" fmla="*/ 5297 w 5760"/>
              <a:gd name="T99" fmla="*/ 3692 h 5760"/>
              <a:gd name="T100" fmla="*/ 5449 w 5760"/>
              <a:gd name="T101" fmla="*/ 2880 h 5760"/>
              <a:gd name="T102" fmla="*/ 5623 w 5760"/>
              <a:gd name="T103" fmla="*/ 2880 h 5760"/>
              <a:gd name="T104" fmla="*/ 2880 w 5760"/>
              <a:gd name="T105" fmla="*/ 5622 h 5760"/>
              <a:gd name="T106" fmla="*/ 2880 w 5760"/>
              <a:gd name="T107" fmla="*/ 135 h 5760"/>
              <a:gd name="T108" fmla="*/ 5623 w 5760"/>
              <a:gd name="T109" fmla="*/ 2880 h 5760"/>
              <a:gd name="T110" fmla="*/ 5760 w 5760"/>
              <a:gd name="T111" fmla="*/ 2880 h 5760"/>
              <a:gd name="T112" fmla="*/ 0 w 5760"/>
              <a:gd name="T113" fmla="*/ 2880 h 5760"/>
              <a:gd name="T114" fmla="*/ 5760 w 5760"/>
              <a:gd name="T115" fmla="*/ 2880 h 5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760" h="5760">
                <a:moveTo>
                  <a:pt x="2386" y="3095"/>
                </a:moveTo>
                <a:lnTo>
                  <a:pt x="2386" y="3095"/>
                </a:lnTo>
                <a:cubicBezTo>
                  <a:pt x="2027" y="3269"/>
                  <a:pt x="1572" y="3581"/>
                  <a:pt x="1572" y="3924"/>
                </a:cubicBezTo>
                <a:cubicBezTo>
                  <a:pt x="1572" y="4051"/>
                  <a:pt x="1635" y="4131"/>
                  <a:pt x="1754" y="4131"/>
                </a:cubicBezTo>
                <a:cubicBezTo>
                  <a:pt x="2105" y="4131"/>
                  <a:pt x="2320" y="3573"/>
                  <a:pt x="2386" y="3095"/>
                </a:cubicBezTo>
                <a:lnTo>
                  <a:pt x="2386" y="3095"/>
                </a:lnTo>
                <a:close/>
                <a:moveTo>
                  <a:pt x="2480" y="1601"/>
                </a:moveTo>
                <a:lnTo>
                  <a:pt x="2480" y="1601"/>
                </a:lnTo>
                <a:cubicBezTo>
                  <a:pt x="2480" y="1563"/>
                  <a:pt x="2458" y="1546"/>
                  <a:pt x="2425" y="1546"/>
                </a:cubicBezTo>
                <a:cubicBezTo>
                  <a:pt x="2257" y="1546"/>
                  <a:pt x="2019" y="1985"/>
                  <a:pt x="2019" y="2248"/>
                </a:cubicBezTo>
                <a:cubicBezTo>
                  <a:pt x="2281" y="2104"/>
                  <a:pt x="2480" y="1778"/>
                  <a:pt x="2480" y="1601"/>
                </a:cubicBezTo>
                <a:lnTo>
                  <a:pt x="2480" y="1601"/>
                </a:lnTo>
                <a:close/>
                <a:moveTo>
                  <a:pt x="3894" y="1634"/>
                </a:moveTo>
                <a:lnTo>
                  <a:pt x="3894" y="1634"/>
                </a:lnTo>
                <a:cubicBezTo>
                  <a:pt x="3894" y="1595"/>
                  <a:pt x="3885" y="1546"/>
                  <a:pt x="3836" y="1546"/>
                </a:cubicBezTo>
                <a:cubicBezTo>
                  <a:pt x="3717" y="1546"/>
                  <a:pt x="3527" y="1803"/>
                  <a:pt x="3527" y="2129"/>
                </a:cubicBezTo>
                <a:cubicBezTo>
                  <a:pt x="3765" y="1921"/>
                  <a:pt x="3894" y="1745"/>
                  <a:pt x="3894" y="1634"/>
                </a:cubicBezTo>
                <a:lnTo>
                  <a:pt x="3894" y="1634"/>
                </a:lnTo>
                <a:close/>
                <a:moveTo>
                  <a:pt x="4482" y="3645"/>
                </a:moveTo>
                <a:lnTo>
                  <a:pt x="4482" y="3645"/>
                </a:lnTo>
                <a:cubicBezTo>
                  <a:pt x="4482" y="4004"/>
                  <a:pt x="4173" y="4379"/>
                  <a:pt x="3717" y="4379"/>
                </a:cubicBezTo>
                <a:cubicBezTo>
                  <a:pt x="3168" y="4379"/>
                  <a:pt x="2889" y="3916"/>
                  <a:pt x="2889" y="3501"/>
                </a:cubicBezTo>
                <a:cubicBezTo>
                  <a:pt x="2889" y="2919"/>
                  <a:pt x="3287" y="2672"/>
                  <a:pt x="3455" y="2584"/>
                </a:cubicBezTo>
                <a:cubicBezTo>
                  <a:pt x="3422" y="2559"/>
                  <a:pt x="3397" y="2529"/>
                  <a:pt x="3375" y="2488"/>
                </a:cubicBezTo>
                <a:cubicBezTo>
                  <a:pt x="3182" y="2623"/>
                  <a:pt x="3008" y="2744"/>
                  <a:pt x="2640" y="2951"/>
                </a:cubicBezTo>
                <a:cubicBezTo>
                  <a:pt x="2624" y="3206"/>
                  <a:pt x="2601" y="3485"/>
                  <a:pt x="2536" y="3678"/>
                </a:cubicBezTo>
                <a:cubicBezTo>
                  <a:pt x="2400" y="4084"/>
                  <a:pt x="2121" y="4379"/>
                  <a:pt x="1754" y="4379"/>
                </a:cubicBezTo>
                <a:cubicBezTo>
                  <a:pt x="1444" y="4379"/>
                  <a:pt x="1293" y="4155"/>
                  <a:pt x="1293" y="3916"/>
                </a:cubicBezTo>
                <a:cubicBezTo>
                  <a:pt x="1293" y="3741"/>
                  <a:pt x="1395" y="3518"/>
                  <a:pt x="1580" y="3349"/>
                </a:cubicBezTo>
                <a:cubicBezTo>
                  <a:pt x="1812" y="3142"/>
                  <a:pt x="2066" y="3015"/>
                  <a:pt x="2417" y="2830"/>
                </a:cubicBezTo>
                <a:cubicBezTo>
                  <a:pt x="2425" y="2783"/>
                  <a:pt x="2433" y="2736"/>
                  <a:pt x="2442" y="2678"/>
                </a:cubicBezTo>
                <a:cubicBezTo>
                  <a:pt x="2353" y="2758"/>
                  <a:pt x="2226" y="2791"/>
                  <a:pt x="2121" y="2791"/>
                </a:cubicBezTo>
                <a:cubicBezTo>
                  <a:pt x="1955" y="2791"/>
                  <a:pt x="1818" y="2648"/>
                  <a:pt x="1787" y="2496"/>
                </a:cubicBezTo>
                <a:cubicBezTo>
                  <a:pt x="1563" y="2480"/>
                  <a:pt x="1395" y="2320"/>
                  <a:pt x="1387" y="2065"/>
                </a:cubicBezTo>
                <a:cubicBezTo>
                  <a:pt x="1387" y="1882"/>
                  <a:pt x="1459" y="1723"/>
                  <a:pt x="1580" y="1723"/>
                </a:cubicBezTo>
                <a:cubicBezTo>
                  <a:pt x="1627" y="1723"/>
                  <a:pt x="1643" y="1762"/>
                  <a:pt x="1643" y="1794"/>
                </a:cubicBezTo>
                <a:cubicBezTo>
                  <a:pt x="1643" y="1825"/>
                  <a:pt x="1602" y="1930"/>
                  <a:pt x="1602" y="2032"/>
                </a:cubicBezTo>
                <a:cubicBezTo>
                  <a:pt x="1602" y="2137"/>
                  <a:pt x="1652" y="2272"/>
                  <a:pt x="1779" y="2272"/>
                </a:cubicBezTo>
                <a:cubicBezTo>
                  <a:pt x="1779" y="1858"/>
                  <a:pt x="2082" y="1322"/>
                  <a:pt x="2442" y="1322"/>
                </a:cubicBezTo>
                <a:cubicBezTo>
                  <a:pt x="2680" y="1322"/>
                  <a:pt x="2712" y="1499"/>
                  <a:pt x="2712" y="1579"/>
                </a:cubicBezTo>
                <a:cubicBezTo>
                  <a:pt x="2712" y="1954"/>
                  <a:pt x="2337" y="2369"/>
                  <a:pt x="2033" y="2471"/>
                </a:cubicBezTo>
                <a:cubicBezTo>
                  <a:pt x="2042" y="2504"/>
                  <a:pt x="2074" y="2592"/>
                  <a:pt x="2170" y="2592"/>
                </a:cubicBezTo>
                <a:cubicBezTo>
                  <a:pt x="2290" y="2592"/>
                  <a:pt x="2433" y="2480"/>
                  <a:pt x="2505" y="2391"/>
                </a:cubicBezTo>
                <a:cubicBezTo>
                  <a:pt x="2536" y="2225"/>
                  <a:pt x="2657" y="1985"/>
                  <a:pt x="2817" y="1985"/>
                </a:cubicBezTo>
                <a:cubicBezTo>
                  <a:pt x="2880" y="1985"/>
                  <a:pt x="2911" y="2032"/>
                  <a:pt x="2911" y="2090"/>
                </a:cubicBezTo>
                <a:cubicBezTo>
                  <a:pt x="2911" y="2209"/>
                  <a:pt x="2784" y="2361"/>
                  <a:pt x="2688" y="2463"/>
                </a:cubicBezTo>
                <a:cubicBezTo>
                  <a:pt x="2673" y="2543"/>
                  <a:pt x="2665" y="2631"/>
                  <a:pt x="2665" y="2703"/>
                </a:cubicBezTo>
                <a:cubicBezTo>
                  <a:pt x="2944" y="2535"/>
                  <a:pt x="3088" y="2449"/>
                  <a:pt x="3295" y="2297"/>
                </a:cubicBezTo>
                <a:cubicBezTo>
                  <a:pt x="3279" y="2242"/>
                  <a:pt x="3279" y="2176"/>
                  <a:pt x="3279" y="2112"/>
                </a:cubicBezTo>
                <a:cubicBezTo>
                  <a:pt x="3279" y="1739"/>
                  <a:pt x="3527" y="1322"/>
                  <a:pt x="3853" y="1322"/>
                </a:cubicBezTo>
                <a:cubicBezTo>
                  <a:pt x="4037" y="1322"/>
                  <a:pt x="4131" y="1452"/>
                  <a:pt x="4131" y="1595"/>
                </a:cubicBezTo>
                <a:cubicBezTo>
                  <a:pt x="4131" y="1866"/>
                  <a:pt x="3900" y="2104"/>
                  <a:pt x="3574" y="2352"/>
                </a:cubicBezTo>
                <a:cubicBezTo>
                  <a:pt x="3599" y="2416"/>
                  <a:pt x="3637" y="2471"/>
                  <a:pt x="3701" y="2504"/>
                </a:cubicBezTo>
                <a:cubicBezTo>
                  <a:pt x="3709" y="2488"/>
                  <a:pt x="3813" y="2471"/>
                  <a:pt x="3900" y="2471"/>
                </a:cubicBezTo>
                <a:cubicBezTo>
                  <a:pt x="3996" y="2471"/>
                  <a:pt x="4131" y="2496"/>
                  <a:pt x="4131" y="2592"/>
                </a:cubicBezTo>
                <a:cubicBezTo>
                  <a:pt x="4131" y="2703"/>
                  <a:pt x="3980" y="2728"/>
                  <a:pt x="3861" y="2728"/>
                </a:cubicBezTo>
                <a:cubicBezTo>
                  <a:pt x="3797" y="2736"/>
                  <a:pt x="3693" y="2711"/>
                  <a:pt x="3693" y="2711"/>
                </a:cubicBezTo>
                <a:cubicBezTo>
                  <a:pt x="3518" y="2758"/>
                  <a:pt x="3182" y="2959"/>
                  <a:pt x="3182" y="3468"/>
                </a:cubicBezTo>
                <a:cubicBezTo>
                  <a:pt x="3182" y="3813"/>
                  <a:pt x="3397" y="4131"/>
                  <a:pt x="3734" y="4131"/>
                </a:cubicBezTo>
                <a:cubicBezTo>
                  <a:pt x="3988" y="4131"/>
                  <a:pt x="4195" y="3940"/>
                  <a:pt x="4203" y="3645"/>
                </a:cubicBezTo>
                <a:cubicBezTo>
                  <a:pt x="4204" y="3454"/>
                  <a:pt x="4123" y="3253"/>
                  <a:pt x="3933" y="3253"/>
                </a:cubicBezTo>
                <a:cubicBezTo>
                  <a:pt x="3836" y="3253"/>
                  <a:pt x="3750" y="3325"/>
                  <a:pt x="3750" y="3429"/>
                </a:cubicBezTo>
                <a:cubicBezTo>
                  <a:pt x="3742" y="3589"/>
                  <a:pt x="3861" y="3606"/>
                  <a:pt x="3861" y="3708"/>
                </a:cubicBezTo>
                <a:cubicBezTo>
                  <a:pt x="3861" y="3780"/>
                  <a:pt x="3806" y="3813"/>
                  <a:pt x="3750" y="3813"/>
                </a:cubicBezTo>
                <a:cubicBezTo>
                  <a:pt x="3590" y="3813"/>
                  <a:pt x="3469" y="3653"/>
                  <a:pt x="3469" y="3454"/>
                </a:cubicBezTo>
                <a:cubicBezTo>
                  <a:pt x="3469" y="3214"/>
                  <a:pt x="3678" y="3015"/>
                  <a:pt x="3949" y="3015"/>
                </a:cubicBezTo>
                <a:cubicBezTo>
                  <a:pt x="4300" y="3015"/>
                  <a:pt x="4482" y="3319"/>
                  <a:pt x="4482" y="3645"/>
                </a:cubicBezTo>
                <a:lnTo>
                  <a:pt x="4482" y="3645"/>
                </a:lnTo>
                <a:close/>
                <a:moveTo>
                  <a:pt x="5449" y="2880"/>
                </a:moveTo>
                <a:lnTo>
                  <a:pt x="5449" y="2880"/>
                </a:lnTo>
                <a:cubicBezTo>
                  <a:pt x="5449" y="1969"/>
                  <a:pt x="4985" y="1027"/>
                  <a:pt x="3988" y="726"/>
                </a:cubicBezTo>
                <a:cubicBezTo>
                  <a:pt x="3781" y="662"/>
                  <a:pt x="3607" y="621"/>
                  <a:pt x="3406" y="621"/>
                </a:cubicBezTo>
                <a:cubicBezTo>
                  <a:pt x="2944" y="621"/>
                  <a:pt x="2928" y="884"/>
                  <a:pt x="2712" y="884"/>
                </a:cubicBezTo>
                <a:cubicBezTo>
                  <a:pt x="2593" y="884"/>
                  <a:pt x="2513" y="798"/>
                  <a:pt x="2513" y="693"/>
                </a:cubicBezTo>
                <a:cubicBezTo>
                  <a:pt x="2513" y="510"/>
                  <a:pt x="2729" y="367"/>
                  <a:pt x="3071" y="367"/>
                </a:cubicBezTo>
                <a:cubicBezTo>
                  <a:pt x="3391" y="367"/>
                  <a:pt x="3637" y="447"/>
                  <a:pt x="3685" y="469"/>
                </a:cubicBezTo>
                <a:lnTo>
                  <a:pt x="3693" y="447"/>
                </a:lnTo>
                <a:cubicBezTo>
                  <a:pt x="3607" y="414"/>
                  <a:pt x="3303" y="309"/>
                  <a:pt x="2880" y="309"/>
                </a:cubicBezTo>
                <a:cubicBezTo>
                  <a:pt x="1961" y="309"/>
                  <a:pt x="1028" y="781"/>
                  <a:pt x="727" y="1770"/>
                </a:cubicBezTo>
                <a:cubicBezTo>
                  <a:pt x="663" y="1977"/>
                  <a:pt x="622" y="2154"/>
                  <a:pt x="622" y="2352"/>
                </a:cubicBezTo>
                <a:cubicBezTo>
                  <a:pt x="622" y="2816"/>
                  <a:pt x="885" y="2838"/>
                  <a:pt x="885" y="3054"/>
                </a:cubicBezTo>
                <a:cubicBezTo>
                  <a:pt x="885" y="3167"/>
                  <a:pt x="798" y="3247"/>
                  <a:pt x="694" y="3247"/>
                </a:cubicBezTo>
                <a:cubicBezTo>
                  <a:pt x="511" y="3247"/>
                  <a:pt x="368" y="3037"/>
                  <a:pt x="368" y="2687"/>
                </a:cubicBezTo>
                <a:cubicBezTo>
                  <a:pt x="368" y="2369"/>
                  <a:pt x="448" y="2121"/>
                  <a:pt x="462" y="2073"/>
                </a:cubicBezTo>
                <a:lnTo>
                  <a:pt x="440" y="2065"/>
                </a:lnTo>
                <a:cubicBezTo>
                  <a:pt x="415" y="2161"/>
                  <a:pt x="310" y="2457"/>
                  <a:pt x="310" y="2880"/>
                </a:cubicBezTo>
                <a:cubicBezTo>
                  <a:pt x="310" y="3805"/>
                  <a:pt x="782" y="4738"/>
                  <a:pt x="1771" y="5041"/>
                </a:cubicBezTo>
                <a:cubicBezTo>
                  <a:pt x="1978" y="5105"/>
                  <a:pt x="2154" y="5144"/>
                  <a:pt x="2353" y="5144"/>
                </a:cubicBezTo>
                <a:cubicBezTo>
                  <a:pt x="2817" y="5144"/>
                  <a:pt x="2831" y="4873"/>
                  <a:pt x="3047" y="4873"/>
                </a:cubicBezTo>
                <a:cubicBezTo>
                  <a:pt x="3160" y="4873"/>
                  <a:pt x="3248" y="4961"/>
                  <a:pt x="3248" y="5072"/>
                </a:cubicBezTo>
                <a:cubicBezTo>
                  <a:pt x="3248" y="5249"/>
                  <a:pt x="3038" y="5392"/>
                  <a:pt x="2688" y="5392"/>
                </a:cubicBezTo>
                <a:cubicBezTo>
                  <a:pt x="2370" y="5392"/>
                  <a:pt x="2113" y="5312"/>
                  <a:pt x="2074" y="5296"/>
                </a:cubicBezTo>
                <a:lnTo>
                  <a:pt x="2066" y="5320"/>
                </a:lnTo>
                <a:cubicBezTo>
                  <a:pt x="2154" y="5359"/>
                  <a:pt x="2458" y="5448"/>
                  <a:pt x="2880" y="5448"/>
                </a:cubicBezTo>
                <a:cubicBezTo>
                  <a:pt x="3797" y="5448"/>
                  <a:pt x="4739" y="4984"/>
                  <a:pt x="5034" y="3987"/>
                </a:cubicBezTo>
                <a:cubicBezTo>
                  <a:pt x="5098" y="3788"/>
                  <a:pt x="5137" y="3606"/>
                  <a:pt x="5137" y="3413"/>
                </a:cubicBezTo>
                <a:cubicBezTo>
                  <a:pt x="5137" y="2943"/>
                  <a:pt x="4874" y="2927"/>
                  <a:pt x="4874" y="2711"/>
                </a:cubicBezTo>
                <a:cubicBezTo>
                  <a:pt x="4874" y="2592"/>
                  <a:pt x="4954" y="2512"/>
                  <a:pt x="5065" y="2512"/>
                </a:cubicBezTo>
                <a:cubicBezTo>
                  <a:pt x="5250" y="2512"/>
                  <a:pt x="5393" y="2728"/>
                  <a:pt x="5393" y="3079"/>
                </a:cubicBezTo>
                <a:cubicBezTo>
                  <a:pt x="5393" y="3390"/>
                  <a:pt x="5313" y="3637"/>
                  <a:pt x="5297" y="3692"/>
                </a:cubicBezTo>
                <a:lnTo>
                  <a:pt x="5322" y="3700"/>
                </a:lnTo>
                <a:cubicBezTo>
                  <a:pt x="5352" y="3606"/>
                  <a:pt x="5449" y="3310"/>
                  <a:pt x="5449" y="2880"/>
                </a:cubicBezTo>
                <a:lnTo>
                  <a:pt x="5449" y="2880"/>
                </a:lnTo>
                <a:close/>
                <a:moveTo>
                  <a:pt x="5623" y="2880"/>
                </a:moveTo>
                <a:lnTo>
                  <a:pt x="5623" y="2880"/>
                </a:lnTo>
                <a:cubicBezTo>
                  <a:pt x="5623" y="4395"/>
                  <a:pt x="4396" y="5622"/>
                  <a:pt x="2880" y="5622"/>
                </a:cubicBezTo>
                <a:cubicBezTo>
                  <a:pt x="1364" y="5622"/>
                  <a:pt x="136" y="4395"/>
                  <a:pt x="136" y="2880"/>
                </a:cubicBezTo>
                <a:cubicBezTo>
                  <a:pt x="136" y="1363"/>
                  <a:pt x="1364" y="135"/>
                  <a:pt x="2880" y="135"/>
                </a:cubicBezTo>
                <a:cubicBezTo>
                  <a:pt x="4396" y="135"/>
                  <a:pt x="5623" y="1372"/>
                  <a:pt x="5623" y="2880"/>
                </a:cubicBezTo>
                <a:lnTo>
                  <a:pt x="5623" y="2880"/>
                </a:lnTo>
                <a:close/>
                <a:moveTo>
                  <a:pt x="5760" y="2880"/>
                </a:moveTo>
                <a:lnTo>
                  <a:pt x="5760" y="2880"/>
                </a:lnTo>
                <a:cubicBezTo>
                  <a:pt x="5760" y="1292"/>
                  <a:pt x="4468" y="0"/>
                  <a:pt x="2880" y="0"/>
                </a:cubicBezTo>
                <a:cubicBezTo>
                  <a:pt x="1293" y="0"/>
                  <a:pt x="0" y="1292"/>
                  <a:pt x="0" y="2880"/>
                </a:cubicBezTo>
                <a:cubicBezTo>
                  <a:pt x="0" y="4473"/>
                  <a:pt x="1293" y="5760"/>
                  <a:pt x="2880" y="5760"/>
                </a:cubicBezTo>
                <a:cubicBezTo>
                  <a:pt x="4468" y="5760"/>
                  <a:pt x="5760" y="4473"/>
                  <a:pt x="5760" y="2880"/>
                </a:cubicBezTo>
                <a:close/>
              </a:path>
            </a:pathLst>
          </a:custGeom>
          <a:solidFill>
            <a:srgbClr val="005EB8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408319-2F42-7C42-B48D-A740A77B6E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3230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25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FCF7FD3-9CE5-C349-B3C5-3E82581FB8B5}"/>
              </a:ext>
            </a:extLst>
          </p:cNvPr>
          <p:cNvSpPr/>
          <p:nvPr userDrawn="1"/>
        </p:nvSpPr>
        <p:spPr>
          <a:xfrm>
            <a:off x="0" y="0"/>
            <a:ext cx="6858000" cy="1625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31D6602-18FB-1D4F-ABC3-C31D46072B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5315" y="398483"/>
            <a:ext cx="6300788" cy="1219200"/>
          </a:xfrm>
        </p:spPr>
        <p:txBody>
          <a:bodyPr/>
          <a:lstStyle>
            <a:lvl1pPr>
              <a:defRPr b="1" spc="133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b="1" spc="267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0B19BA-A81E-447D-86C4-6B4F1B5C31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21349C-8E20-4AF1-8370-16DDB7A0D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239178" indent="-239178"/>
            <a:r>
              <a:rPr lang="en-US"/>
              <a:t>Lean Training | Daily Management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ED5FEDB-86AF-47B8-863C-7BB808D5B0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719505-AD43-774F-936C-A3AE71DD4EE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39496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5 Pictur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-up of a car&#10;&#10;Description automatically generated with medium confidence">
            <a:extLst>
              <a:ext uri="{FF2B5EF4-FFF2-40B4-BE49-F238E27FC236}">
                <a16:creationId xmlns:a16="http://schemas.microsoft.com/office/drawing/2014/main" id="{F7D53FFD-5B58-B040-9098-81AC2B73DD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857999" cy="9144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080E39D-2464-BB4E-9B7F-942FB1283A16}"/>
              </a:ext>
            </a:extLst>
          </p:cNvPr>
          <p:cNvSpPr/>
          <p:nvPr userDrawn="1"/>
        </p:nvSpPr>
        <p:spPr>
          <a:xfrm>
            <a:off x="1" y="0"/>
            <a:ext cx="6857999" cy="9144000"/>
          </a:xfrm>
          <a:prstGeom prst="rect">
            <a:avLst/>
          </a:prstGeom>
          <a:gradFill flip="none" rotWithShape="1">
            <a:gsLst>
              <a:gs pos="3000">
                <a:schemeClr val="bg1">
                  <a:alpha val="79879"/>
                </a:schemeClr>
              </a:gs>
              <a:gs pos="58000">
                <a:schemeClr val="bg1">
                  <a:alpha val="16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>
              <a:spcAft>
                <a:spcPts val="800"/>
              </a:spcAft>
            </a:pPr>
            <a:endParaRPr lang="en-US" sz="2400" dirty="0">
              <a:solidFill>
                <a:schemeClr val="tx1"/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E390D8-FB2D-714E-887C-226EFBAA75C4}"/>
              </a:ext>
            </a:extLst>
          </p:cNvPr>
          <p:cNvCxnSpPr/>
          <p:nvPr userDrawn="1"/>
        </p:nvCxnSpPr>
        <p:spPr>
          <a:xfrm>
            <a:off x="314325" y="3767667"/>
            <a:ext cx="144018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370033-E5A1-7B48-AE34-D9C6694ED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0075" y="8657168"/>
            <a:ext cx="2571750" cy="48683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BBD7296-A283-1446-A433-EC8C6228A4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445" y="283633"/>
            <a:ext cx="1465896" cy="12442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14E021-5666-C143-A40F-6113F80F8F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0075" y="3170768"/>
            <a:ext cx="6022181" cy="2620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9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2F35A6-FF25-0745-8AB1-FA8EE7D66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0075" y="5791200"/>
            <a:ext cx="6022181" cy="1299633"/>
          </a:xfrm>
        </p:spPr>
        <p:txBody>
          <a:bodyPr>
            <a:noAutofit/>
          </a:bodyPr>
          <a:lstStyle>
            <a:lvl1pPr marL="0" indent="0" algn="l">
              <a:spcAft>
                <a:spcPts val="533"/>
              </a:spcAft>
              <a:buNone/>
              <a:defRPr sz="24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04E506E-8BB3-C8AC-0A59-08CCAF0B0BE3}"/>
              </a:ext>
            </a:extLst>
          </p:cNvPr>
          <p:cNvCxnSpPr/>
          <p:nvPr userDrawn="1"/>
        </p:nvCxnSpPr>
        <p:spPr>
          <a:xfrm>
            <a:off x="314325" y="5980780"/>
            <a:ext cx="144018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02731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78" userDrawn="1">
          <p15:clr>
            <a:srgbClr val="FBAE40"/>
          </p15:clr>
        </p15:guide>
        <p15:guide id="2" pos="243" userDrawn="1">
          <p15:clr>
            <a:srgbClr val="FBAE40"/>
          </p15:clr>
        </p15:guide>
        <p15:guide id="3" orient="horz" pos="3648" userDrawn="1">
          <p15:clr>
            <a:srgbClr val="FBAE40"/>
          </p15:clr>
        </p15:guide>
        <p15:guide id="4" orient="horz" pos="1997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5 Pictur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E390D8-FB2D-714E-887C-226EFBAA75C4}"/>
              </a:ext>
            </a:extLst>
          </p:cNvPr>
          <p:cNvCxnSpPr/>
          <p:nvPr userDrawn="1"/>
        </p:nvCxnSpPr>
        <p:spPr>
          <a:xfrm>
            <a:off x="314325" y="3767667"/>
            <a:ext cx="144018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370033-E5A1-7B48-AE34-D9C6694ED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0075" y="8657168"/>
            <a:ext cx="2571750" cy="48683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BBD7296-A283-1446-A433-EC8C6228A4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21445" y="283633"/>
            <a:ext cx="1465896" cy="12442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14E021-5666-C143-A40F-6113F80F8F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0075" y="3170768"/>
            <a:ext cx="6022181" cy="2620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9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2F35A6-FF25-0745-8AB1-FA8EE7D66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0075" y="5791200"/>
            <a:ext cx="6022181" cy="1299633"/>
          </a:xfrm>
        </p:spPr>
        <p:txBody>
          <a:bodyPr>
            <a:noAutofit/>
          </a:bodyPr>
          <a:lstStyle>
            <a:lvl1pPr marL="0" indent="0" algn="l">
              <a:spcAft>
                <a:spcPts val="533"/>
              </a:spcAft>
              <a:buNone/>
              <a:defRPr sz="24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04E506E-8BB3-C8AC-0A59-08CCAF0B0BE3}"/>
              </a:ext>
            </a:extLst>
          </p:cNvPr>
          <p:cNvCxnSpPr/>
          <p:nvPr userDrawn="1"/>
        </p:nvCxnSpPr>
        <p:spPr>
          <a:xfrm>
            <a:off x="314325" y="5980780"/>
            <a:ext cx="144018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84AFE43F-1157-82A0-785E-DA05BFD81FD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522"/>
            <a:ext cx="6858000" cy="9142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63770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78" userDrawn="1">
          <p15:clr>
            <a:srgbClr val="FBAE40"/>
          </p15:clr>
        </p15:guide>
        <p15:guide id="2" pos="243" userDrawn="1">
          <p15:clr>
            <a:srgbClr val="FBAE40"/>
          </p15:clr>
        </p15:guide>
        <p15:guide id="3" orient="horz" pos="3648" userDrawn="1">
          <p15:clr>
            <a:srgbClr val="FBAE40"/>
          </p15:clr>
        </p15:guide>
        <p15:guide id="4" orient="horz" pos="199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6 Pictur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indoor, kitchenware&#10;&#10;Description automatically generated">
            <a:extLst>
              <a:ext uri="{FF2B5EF4-FFF2-40B4-BE49-F238E27FC236}">
                <a16:creationId xmlns:a16="http://schemas.microsoft.com/office/drawing/2014/main" id="{E3C850AF-43C3-3F47-8F86-12DCD34E11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858000" cy="9144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B568D44-CCA5-BC49-9A66-9EABC10EC2A2}"/>
              </a:ext>
            </a:extLst>
          </p:cNvPr>
          <p:cNvSpPr/>
          <p:nvPr userDrawn="1"/>
        </p:nvSpPr>
        <p:spPr>
          <a:xfrm>
            <a:off x="0" y="0"/>
            <a:ext cx="6858000" cy="9144000"/>
          </a:xfrm>
          <a:prstGeom prst="rect">
            <a:avLst/>
          </a:prstGeom>
          <a:gradFill flip="none" rotWithShape="1">
            <a:gsLst>
              <a:gs pos="3000">
                <a:schemeClr val="bg1">
                  <a:alpha val="90836"/>
                </a:schemeClr>
              </a:gs>
              <a:gs pos="58000">
                <a:schemeClr val="bg1">
                  <a:alpha val="16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>
              <a:spcAft>
                <a:spcPts val="800"/>
              </a:spcAft>
            </a:pPr>
            <a:endParaRPr lang="en-US" sz="2400" dirty="0">
              <a:solidFill>
                <a:schemeClr val="tx1"/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E390D8-FB2D-714E-887C-226EFBAA75C4}"/>
              </a:ext>
            </a:extLst>
          </p:cNvPr>
          <p:cNvCxnSpPr/>
          <p:nvPr userDrawn="1"/>
        </p:nvCxnSpPr>
        <p:spPr>
          <a:xfrm>
            <a:off x="314325" y="3767667"/>
            <a:ext cx="144018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370033-E5A1-7B48-AE34-D9C6694ED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0075" y="8657168"/>
            <a:ext cx="2571750" cy="48683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BBD7296-A283-1446-A433-EC8C6228A4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445" y="283633"/>
            <a:ext cx="1465896" cy="12442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14E021-5666-C143-A40F-6113F80F8F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0075" y="3170768"/>
            <a:ext cx="6022181" cy="2620433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9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A2F35A6-FF25-0745-8AB1-FA8EE7D667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0075" y="5791200"/>
            <a:ext cx="6022181" cy="1299633"/>
          </a:xfrm>
        </p:spPr>
        <p:txBody>
          <a:bodyPr>
            <a:noAutofit/>
          </a:bodyPr>
          <a:lstStyle>
            <a:lvl1pPr marL="0" indent="0" algn="l">
              <a:spcAft>
                <a:spcPts val="533"/>
              </a:spcAft>
              <a:buNone/>
              <a:defRPr sz="24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2C61BB8-691E-8258-4120-F795A4D9094D}"/>
              </a:ext>
            </a:extLst>
          </p:cNvPr>
          <p:cNvCxnSpPr/>
          <p:nvPr userDrawn="1"/>
        </p:nvCxnSpPr>
        <p:spPr>
          <a:xfrm>
            <a:off x="314325" y="5967528"/>
            <a:ext cx="144018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357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78" userDrawn="1">
          <p15:clr>
            <a:srgbClr val="FBAE40"/>
          </p15:clr>
        </p15:guide>
        <p15:guide id="2" pos="243" userDrawn="1">
          <p15:clr>
            <a:srgbClr val="FBAE40"/>
          </p15:clr>
        </p15:guide>
        <p15:guide id="3" orient="horz" pos="3648" userDrawn="1">
          <p15:clr>
            <a:srgbClr val="FBAE40"/>
          </p15:clr>
        </p15:guide>
        <p15:guide id="4" orient="horz" pos="1997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B5BA6-6E37-D642-969A-D710BEC279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243834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86635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4" userDrawn="1">
          <p15:clr>
            <a:srgbClr val="FBAE40"/>
          </p15:clr>
        </p15:guide>
        <p15:guide id="2" orient="horz" pos="5216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C8514C-8B9F-2747-A1ED-3FA7A6D9C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80EA9-85B3-704C-873E-F0BF0BF1C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7A97EF-C944-4447-B862-B593E9B4A0FF}" type="slidenum">
              <a:rPr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F3A8C4-D9AF-D346-82F3-87CDA097C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B5BA6-6E37-D642-969A-D710BEC279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744" y="1871133"/>
            <a:ext cx="3034665" cy="64092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48D7D23-A4AE-A948-B404-C89F45ED35B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29000" y="1871133"/>
            <a:ext cx="3034665" cy="64092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2142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60" userDrawn="1">
          <p15:clr>
            <a:srgbClr val="FBAE40"/>
          </p15:clr>
        </p15:guide>
        <p15:guide id="2" orient="horz" pos="1179" userDrawn="1">
          <p15:clr>
            <a:srgbClr val="FBAE40"/>
          </p15:clr>
        </p15:guide>
        <p15:guide id="3" orient="horz" pos="521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Logo">
            <a:extLst>
              <a:ext uri="{FF2B5EF4-FFF2-40B4-BE49-F238E27FC236}">
                <a16:creationId xmlns:a16="http://schemas.microsoft.com/office/drawing/2014/main" id="{ECDA8EB9-3A9D-424E-89F6-907595675CDF}"/>
              </a:ext>
            </a:extLst>
          </p:cNvPr>
          <p:cNvPicPr>
            <a:picLocks noChangeAspect="1"/>
          </p:cNvPicPr>
          <p:nvPr userDrawn="1"/>
        </p:nvPicPr>
        <p:blipFill>
          <a:blip r:embed="rId4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451" y="8394700"/>
            <a:ext cx="822960" cy="69850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6021D6-6421-7F41-A534-39EA22A630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29000" y="8657168"/>
            <a:ext cx="2571750" cy="4868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o edit the confidentiality disclosure, go to the View tab &gt; Slide Master &gt; Insert tab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A382ED-C79F-1C4C-93EA-8B7E3CF994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312477" y="8657168"/>
            <a:ext cx="309779" cy="4868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7A7A97EF-C944-4447-B862-B593E9B4A0FF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3201E47-C943-F44B-9CD7-62EF3F5324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744" y="558801"/>
            <a:ext cx="6386513" cy="13117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542F5A-6368-8D4D-90C8-17B76FDD36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35744" y="1871133"/>
            <a:ext cx="6386513" cy="64092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05397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2" r:id="rId3"/>
    <p:sldLayoutId id="2147483702" r:id="rId4"/>
    <p:sldLayoutId id="2147483703" r:id="rId5"/>
    <p:sldLayoutId id="2147483716" r:id="rId6"/>
    <p:sldLayoutId id="2147483704" r:id="rId7"/>
    <p:sldLayoutId id="2147483650" r:id="rId8"/>
    <p:sldLayoutId id="214748366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71" r:id="rId16"/>
    <p:sldLayoutId id="2147483672" r:id="rId17"/>
    <p:sldLayoutId id="2147483673" r:id="rId18"/>
    <p:sldLayoutId id="2147483674" r:id="rId19"/>
    <p:sldLayoutId id="2147483675" r:id="rId20"/>
    <p:sldLayoutId id="2147483676" r:id="rId21"/>
    <p:sldLayoutId id="2147483677" r:id="rId22"/>
    <p:sldLayoutId id="2147483651" r:id="rId23"/>
    <p:sldLayoutId id="2147483678" r:id="rId24"/>
    <p:sldLayoutId id="2147483681" r:id="rId25"/>
    <p:sldLayoutId id="2147483701" r:id="rId26"/>
    <p:sldLayoutId id="2147483700" r:id="rId27"/>
    <p:sldLayoutId id="2147483684" r:id="rId28"/>
    <p:sldLayoutId id="2147483685" r:id="rId29"/>
    <p:sldLayoutId id="2147483686" r:id="rId30"/>
    <p:sldLayoutId id="2147483689" r:id="rId31"/>
    <p:sldLayoutId id="2147483687" r:id="rId32"/>
    <p:sldLayoutId id="2147483688" r:id="rId33"/>
    <p:sldLayoutId id="2147483692" r:id="rId34"/>
    <p:sldLayoutId id="2147483696" r:id="rId35"/>
    <p:sldLayoutId id="2147483695" r:id="rId36"/>
    <p:sldLayoutId id="2147483697" r:id="rId37"/>
    <p:sldLayoutId id="2147483699" r:id="rId38"/>
    <p:sldLayoutId id="2147483654" r:id="rId39"/>
    <p:sldLayoutId id="2147483655" r:id="rId40"/>
    <p:sldLayoutId id="2147483663" r:id="rId41"/>
    <p:sldLayoutId id="2147483705" r:id="rId42"/>
    <p:sldLayoutId id="2147483708" r:id="rId43"/>
    <p:sldLayoutId id="2147483709" r:id="rId44"/>
    <p:sldLayoutId id="2147483711" r:id="rId45"/>
    <p:sldLayoutId id="2147483714" r:id="rId46"/>
    <p:sldLayoutId id="2147483715" r:id="rId47"/>
  </p:sldLayoutIdLst>
  <p:hf hdr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Clr>
          <a:schemeClr val="tx1"/>
        </a:buClr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243834" indent="-243834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/>
        </a:buClr>
        <a:buFont typeface="System Font Regular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487668" indent="-243834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/>
        </a:buClr>
        <a:buFont typeface="System Font Regular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02" indent="-243834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/>
        </a:buClr>
        <a:buFont typeface="System Font Regular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975336" indent="-243834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/>
        </a:buClr>
        <a:buFont typeface="System Font Regular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533"/>
        </a:spcAft>
        <a:buClr>
          <a:schemeClr val="tx1"/>
        </a:buClr>
        <a:buFont typeface="Arial" panose="020B0604020202020204" pitchFamily="34" charset="0"/>
        <a:buNone/>
        <a:tabLst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243834" algn="l" defTabSz="1219170" rtl="0" eaLnBrk="1" latinLnBrk="0" hangingPunct="1">
        <a:lnSpc>
          <a:spcPct val="100000"/>
        </a:lnSpc>
        <a:spcBef>
          <a:spcPts val="0"/>
        </a:spcBef>
        <a:spcAft>
          <a:spcPts val="533"/>
        </a:spcAft>
        <a:buClr>
          <a:schemeClr val="tx1"/>
        </a:buClr>
        <a:buFont typeface="System Font Regular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487668" indent="-243834" algn="l" defTabSz="1219170" rtl="0" eaLnBrk="1" latinLnBrk="0" hangingPunct="1">
        <a:lnSpc>
          <a:spcPct val="100000"/>
        </a:lnSpc>
        <a:spcBef>
          <a:spcPts val="0"/>
        </a:spcBef>
        <a:spcAft>
          <a:spcPts val="533"/>
        </a:spcAft>
        <a:buClr>
          <a:schemeClr val="tx1"/>
        </a:buClr>
        <a:buFont typeface="System Font Regular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267"/>
        </a:spcAft>
        <a:buFont typeface="Arial" panose="020B0604020202020204" pitchFamily="34" charset="0"/>
        <a:buNone/>
        <a:tabLst/>
        <a:defRPr sz="1467" i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52" userDrawn="1">
          <p15:clr>
            <a:srgbClr val="F26B43"/>
          </p15:clr>
        </p15:guide>
        <p15:guide id="2" pos="149" userDrawn="1">
          <p15:clr>
            <a:srgbClr val="F26B43"/>
          </p15:clr>
        </p15:guide>
        <p15:guide id="3" pos="41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21.png"/><Relationship Id="rId18" Type="http://schemas.openxmlformats.org/officeDocument/2006/relationships/image" Target="../media/image2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17" Type="http://schemas.openxmlformats.org/officeDocument/2006/relationships/image" Target="../media/image25.png"/><Relationship Id="rId2" Type="http://schemas.openxmlformats.org/officeDocument/2006/relationships/image" Target="../media/image6.jpg"/><Relationship Id="rId16" Type="http://schemas.openxmlformats.org/officeDocument/2006/relationships/image" Target="../media/image24.svg"/><Relationship Id="rId20" Type="http://schemas.openxmlformats.org/officeDocument/2006/relationships/image" Target="../media/image2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5" Type="http://schemas.openxmlformats.org/officeDocument/2006/relationships/image" Target="../media/image23.png"/><Relationship Id="rId10" Type="http://schemas.openxmlformats.org/officeDocument/2006/relationships/image" Target="../media/image18.png"/><Relationship Id="rId19" Type="http://schemas.openxmlformats.org/officeDocument/2006/relationships/image" Target="../media/image27.png"/><Relationship Id="rId4" Type="http://schemas.openxmlformats.org/officeDocument/2006/relationships/image" Target="../media/image12.svg"/><Relationship Id="rId9" Type="http://schemas.openxmlformats.org/officeDocument/2006/relationships/image" Target="../media/image17.png"/><Relationship Id="rId14" Type="http://schemas.openxmlformats.org/officeDocument/2006/relationships/image" Target="../media/image2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7E5979C-300E-2370-F6F1-C8926179181E}"/>
              </a:ext>
            </a:extLst>
          </p:cNvPr>
          <p:cNvSpPr/>
          <p:nvPr/>
        </p:nvSpPr>
        <p:spPr>
          <a:xfrm>
            <a:off x="0" y="0"/>
            <a:ext cx="6858000" cy="185805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>
              <a:spcAft>
                <a:spcPts val="600"/>
              </a:spcAft>
            </a:pP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7CCBB7-FCEF-E558-2E5F-4F9DB8C800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906" r="17441"/>
          <a:stretch/>
        </p:blipFill>
        <p:spPr>
          <a:xfrm>
            <a:off x="4643703" y="8602"/>
            <a:ext cx="2214297" cy="184084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179133F-1049-9741-F8C5-A9739B8A09A4}"/>
              </a:ext>
            </a:extLst>
          </p:cNvPr>
          <p:cNvSpPr txBox="1"/>
          <p:nvPr/>
        </p:nvSpPr>
        <p:spPr>
          <a:xfrm>
            <a:off x="665011" y="985999"/>
            <a:ext cx="3963121" cy="8001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Find your pay information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DB47899-418A-2BD3-F3B3-63419F65E2D4}"/>
              </a:ext>
            </a:extLst>
          </p:cNvPr>
          <p:cNvCxnSpPr>
            <a:cxnSpLocks/>
          </p:cNvCxnSpPr>
          <p:nvPr/>
        </p:nvCxnSpPr>
        <p:spPr>
          <a:xfrm>
            <a:off x="242201" y="1318364"/>
            <a:ext cx="257175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B7B7449-6046-9C2C-D7B5-46D8FDE3786A}"/>
              </a:ext>
            </a:extLst>
          </p:cNvPr>
          <p:cNvSpPr txBox="1"/>
          <p:nvPr/>
        </p:nvSpPr>
        <p:spPr>
          <a:xfrm>
            <a:off x="717259" y="1496828"/>
            <a:ext cx="2908911" cy="3127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</a:rPr>
              <a:t>U.S. Hourly and Salaried employees</a:t>
            </a:r>
          </a:p>
        </p:txBody>
      </p:sp>
      <p:sp>
        <p:nvSpPr>
          <p:cNvPr id="11" name="Graphic 5">
            <a:extLst>
              <a:ext uri="{FF2B5EF4-FFF2-40B4-BE49-F238E27FC236}">
                <a16:creationId xmlns:a16="http://schemas.microsoft.com/office/drawing/2014/main" id="{504BC68D-3A64-8500-278E-63D82478B5A4}"/>
              </a:ext>
            </a:extLst>
          </p:cNvPr>
          <p:cNvSpPr/>
          <p:nvPr/>
        </p:nvSpPr>
        <p:spPr>
          <a:xfrm>
            <a:off x="279672" y="279673"/>
            <a:ext cx="1520847" cy="388987"/>
          </a:xfrm>
          <a:custGeom>
            <a:avLst/>
            <a:gdLst>
              <a:gd name="connsiteX0" fmla="*/ 939088 w 2458276"/>
              <a:gd name="connsiteY0" fmla="*/ 406684 h 578834"/>
              <a:gd name="connsiteX1" fmla="*/ 939088 w 2458276"/>
              <a:gd name="connsiteY1" fmla="*/ 172131 h 578834"/>
              <a:gd name="connsiteX2" fmla="*/ 1057017 w 2458276"/>
              <a:gd name="connsiteY2" fmla="*/ 172131 h 578834"/>
              <a:gd name="connsiteX3" fmla="*/ 1057017 w 2458276"/>
              <a:gd name="connsiteY3" fmla="*/ 197937 h 578834"/>
              <a:gd name="connsiteX4" fmla="*/ 968555 w 2458276"/>
              <a:gd name="connsiteY4" fmla="*/ 197937 h 578834"/>
              <a:gd name="connsiteX5" fmla="*/ 968555 w 2458276"/>
              <a:gd name="connsiteY5" fmla="*/ 275005 h 578834"/>
              <a:gd name="connsiteX6" fmla="*/ 1051329 w 2458276"/>
              <a:gd name="connsiteY6" fmla="*/ 275005 h 578834"/>
              <a:gd name="connsiteX7" fmla="*/ 1051329 w 2458276"/>
              <a:gd name="connsiteY7" fmla="*/ 300129 h 578834"/>
              <a:gd name="connsiteX8" fmla="*/ 968555 w 2458276"/>
              <a:gd name="connsiteY8" fmla="*/ 300129 h 578834"/>
              <a:gd name="connsiteX9" fmla="*/ 968555 w 2458276"/>
              <a:gd name="connsiteY9" fmla="*/ 380878 h 578834"/>
              <a:gd name="connsiteX10" fmla="*/ 1057017 w 2458276"/>
              <a:gd name="connsiteY10" fmla="*/ 380878 h 578834"/>
              <a:gd name="connsiteX11" fmla="*/ 1057017 w 2458276"/>
              <a:gd name="connsiteY11" fmla="*/ 406684 h 578834"/>
              <a:gd name="connsiteX12" fmla="*/ 939088 w 2458276"/>
              <a:gd name="connsiteY12" fmla="*/ 406684 h 578834"/>
              <a:gd name="connsiteX13" fmla="*/ 1189377 w 2458276"/>
              <a:gd name="connsiteY13" fmla="*/ 309848 h 578834"/>
              <a:gd name="connsiteX14" fmla="*/ 1220208 w 2458276"/>
              <a:gd name="connsiteY14" fmla="*/ 198950 h 578834"/>
              <a:gd name="connsiteX15" fmla="*/ 1251039 w 2458276"/>
              <a:gd name="connsiteY15" fmla="*/ 309848 h 578834"/>
              <a:gd name="connsiteX16" fmla="*/ 1189377 w 2458276"/>
              <a:gd name="connsiteY16" fmla="*/ 309848 h 578834"/>
              <a:gd name="connsiteX17" fmla="*/ 1162578 w 2458276"/>
              <a:gd name="connsiteY17" fmla="*/ 406684 h 578834"/>
              <a:gd name="connsiteX18" fmla="*/ 1182677 w 2458276"/>
              <a:gd name="connsiteY18" fmla="*/ 334641 h 578834"/>
              <a:gd name="connsiteX19" fmla="*/ 1258070 w 2458276"/>
              <a:gd name="connsiteY19" fmla="*/ 334641 h 578834"/>
              <a:gd name="connsiteX20" fmla="*/ 1278170 w 2458276"/>
              <a:gd name="connsiteY20" fmla="*/ 406684 h 578834"/>
              <a:gd name="connsiteX21" fmla="*/ 1309001 w 2458276"/>
              <a:gd name="connsiteY21" fmla="*/ 406684 h 578834"/>
              <a:gd name="connsiteX22" fmla="*/ 1239314 w 2458276"/>
              <a:gd name="connsiteY22" fmla="*/ 172151 h 578834"/>
              <a:gd name="connsiteX23" fmla="*/ 1202465 w 2458276"/>
              <a:gd name="connsiteY23" fmla="*/ 172151 h 578834"/>
              <a:gd name="connsiteX24" fmla="*/ 1132779 w 2458276"/>
              <a:gd name="connsiteY24" fmla="*/ 406684 h 578834"/>
              <a:gd name="connsiteX25" fmla="*/ 1162578 w 2458276"/>
              <a:gd name="connsiteY25" fmla="*/ 406684 h 578834"/>
              <a:gd name="connsiteX26" fmla="*/ 1393430 w 2458276"/>
              <a:gd name="connsiteY26" fmla="*/ 261605 h 578834"/>
              <a:gd name="connsiteX27" fmla="*/ 1424592 w 2458276"/>
              <a:gd name="connsiteY27" fmla="*/ 297461 h 578834"/>
              <a:gd name="connsiteX28" fmla="*/ 1424592 w 2458276"/>
              <a:gd name="connsiteY28" fmla="*/ 311192 h 578834"/>
              <a:gd name="connsiteX29" fmla="*/ 1362288 w 2458276"/>
              <a:gd name="connsiteY29" fmla="*/ 311192 h 578834"/>
              <a:gd name="connsiteX30" fmla="*/ 1362288 w 2458276"/>
              <a:gd name="connsiteY30" fmla="*/ 297461 h 578834"/>
              <a:gd name="connsiteX31" fmla="*/ 1393430 w 2458276"/>
              <a:gd name="connsiteY31" fmla="*/ 261605 h 578834"/>
              <a:gd name="connsiteX32" fmla="*/ 1333443 w 2458276"/>
              <a:gd name="connsiteY32" fmla="*/ 299448 h 578834"/>
              <a:gd name="connsiteX33" fmla="*/ 1333443 w 2458276"/>
              <a:gd name="connsiteY33" fmla="*/ 349716 h 578834"/>
              <a:gd name="connsiteX34" fmla="*/ 1392748 w 2458276"/>
              <a:gd name="connsiteY34" fmla="*/ 410015 h 578834"/>
              <a:gd name="connsiteX35" fmla="*/ 1452404 w 2458276"/>
              <a:gd name="connsiteY35" fmla="*/ 356747 h 578834"/>
              <a:gd name="connsiteX36" fmla="*/ 1424592 w 2458276"/>
              <a:gd name="connsiteY36" fmla="*/ 356747 h 578834"/>
              <a:gd name="connsiteX37" fmla="*/ 1392768 w 2458276"/>
              <a:gd name="connsiteY37" fmla="*/ 387578 h 578834"/>
              <a:gd name="connsiteX38" fmla="*/ 1362288 w 2458276"/>
              <a:gd name="connsiteY38" fmla="*/ 351391 h 578834"/>
              <a:gd name="connsiteX39" fmla="*/ 1362288 w 2458276"/>
              <a:gd name="connsiteY39" fmla="*/ 334622 h 578834"/>
              <a:gd name="connsiteX40" fmla="*/ 1453086 w 2458276"/>
              <a:gd name="connsiteY40" fmla="*/ 334622 h 578834"/>
              <a:gd name="connsiteX41" fmla="*/ 1453086 w 2458276"/>
              <a:gd name="connsiteY41" fmla="*/ 298766 h 578834"/>
              <a:gd name="connsiteX42" fmla="*/ 1393450 w 2458276"/>
              <a:gd name="connsiteY42" fmla="*/ 239130 h 578834"/>
              <a:gd name="connsiteX43" fmla="*/ 1333443 w 2458276"/>
              <a:gd name="connsiteY43" fmla="*/ 299448 h 578834"/>
              <a:gd name="connsiteX44" fmla="*/ 1565659 w 2458276"/>
              <a:gd name="connsiteY44" fmla="*/ 269980 h 578834"/>
              <a:gd name="connsiteX45" fmla="*/ 1565659 w 2458276"/>
              <a:gd name="connsiteY45" fmla="*/ 241155 h 578834"/>
              <a:gd name="connsiteX46" fmla="*/ 1562640 w 2458276"/>
              <a:gd name="connsiteY46" fmla="*/ 241155 h 578834"/>
              <a:gd name="connsiteX47" fmla="*/ 1520104 w 2458276"/>
              <a:gd name="connsiteY47" fmla="*/ 267292 h 578834"/>
              <a:gd name="connsiteX48" fmla="*/ 1520104 w 2458276"/>
              <a:gd name="connsiteY48" fmla="*/ 242499 h 578834"/>
              <a:gd name="connsiteX49" fmla="*/ 1492954 w 2458276"/>
              <a:gd name="connsiteY49" fmla="*/ 242499 h 578834"/>
              <a:gd name="connsiteX50" fmla="*/ 1492954 w 2458276"/>
              <a:gd name="connsiteY50" fmla="*/ 406684 h 578834"/>
              <a:gd name="connsiteX51" fmla="*/ 1521779 w 2458276"/>
              <a:gd name="connsiteY51" fmla="*/ 406684 h 578834"/>
              <a:gd name="connsiteX52" fmla="*/ 1521779 w 2458276"/>
              <a:gd name="connsiteY52" fmla="*/ 307160 h 578834"/>
              <a:gd name="connsiteX53" fmla="*/ 1558959 w 2458276"/>
              <a:gd name="connsiteY53" fmla="*/ 269299 h 578834"/>
              <a:gd name="connsiteX54" fmla="*/ 1565659 w 2458276"/>
              <a:gd name="connsiteY54" fmla="*/ 269980 h 578834"/>
              <a:gd name="connsiteX55" fmla="*/ 1644713 w 2458276"/>
              <a:gd name="connsiteY55" fmla="*/ 387247 h 578834"/>
              <a:gd name="connsiteX56" fmla="*/ 1613882 w 2458276"/>
              <a:gd name="connsiteY56" fmla="*/ 351391 h 578834"/>
              <a:gd name="connsiteX57" fmla="*/ 1613882 w 2458276"/>
              <a:gd name="connsiteY57" fmla="*/ 297773 h 578834"/>
              <a:gd name="connsiteX58" fmla="*/ 1644713 w 2458276"/>
              <a:gd name="connsiteY58" fmla="*/ 261936 h 578834"/>
              <a:gd name="connsiteX59" fmla="*/ 1675544 w 2458276"/>
              <a:gd name="connsiteY59" fmla="*/ 297773 h 578834"/>
              <a:gd name="connsiteX60" fmla="*/ 1675544 w 2458276"/>
              <a:gd name="connsiteY60" fmla="*/ 351391 h 578834"/>
              <a:gd name="connsiteX61" fmla="*/ 1644713 w 2458276"/>
              <a:gd name="connsiteY61" fmla="*/ 387247 h 578834"/>
              <a:gd name="connsiteX62" fmla="*/ 1644713 w 2458276"/>
              <a:gd name="connsiteY62" fmla="*/ 410034 h 578834"/>
              <a:gd name="connsiteX63" fmla="*/ 1704369 w 2458276"/>
              <a:gd name="connsiteY63" fmla="*/ 349736 h 578834"/>
              <a:gd name="connsiteX64" fmla="*/ 1704369 w 2458276"/>
              <a:gd name="connsiteY64" fmla="*/ 299467 h 578834"/>
              <a:gd name="connsiteX65" fmla="*/ 1644713 w 2458276"/>
              <a:gd name="connsiteY65" fmla="*/ 239169 h 578834"/>
              <a:gd name="connsiteX66" fmla="*/ 1585077 w 2458276"/>
              <a:gd name="connsiteY66" fmla="*/ 299467 h 578834"/>
              <a:gd name="connsiteX67" fmla="*/ 1585077 w 2458276"/>
              <a:gd name="connsiteY67" fmla="*/ 349736 h 578834"/>
              <a:gd name="connsiteX68" fmla="*/ 1644713 w 2458276"/>
              <a:gd name="connsiteY68" fmla="*/ 410034 h 578834"/>
              <a:gd name="connsiteX69" fmla="*/ 1767024 w 2458276"/>
              <a:gd name="connsiteY69" fmla="*/ 281043 h 578834"/>
              <a:gd name="connsiteX70" fmla="*/ 1791817 w 2458276"/>
              <a:gd name="connsiteY70" fmla="*/ 261274 h 578834"/>
              <a:gd name="connsiteX71" fmla="*/ 1818266 w 2458276"/>
              <a:gd name="connsiteY71" fmla="*/ 290080 h 578834"/>
              <a:gd name="connsiteX72" fmla="*/ 1845767 w 2458276"/>
              <a:gd name="connsiteY72" fmla="*/ 290080 h 578834"/>
              <a:gd name="connsiteX73" fmla="*/ 1791817 w 2458276"/>
              <a:gd name="connsiteY73" fmla="*/ 239149 h 578834"/>
              <a:gd name="connsiteX74" fmla="*/ 1739192 w 2458276"/>
              <a:gd name="connsiteY74" fmla="*/ 285055 h 578834"/>
              <a:gd name="connsiteX75" fmla="*/ 1778729 w 2458276"/>
              <a:gd name="connsiteY75" fmla="*/ 332635 h 578834"/>
              <a:gd name="connsiteX76" fmla="*/ 1795810 w 2458276"/>
              <a:gd name="connsiteY76" fmla="*/ 341010 h 578834"/>
              <a:gd name="connsiteX77" fmla="*/ 1819279 w 2458276"/>
              <a:gd name="connsiteY77" fmla="*/ 366816 h 578834"/>
              <a:gd name="connsiteX78" fmla="*/ 1791798 w 2458276"/>
              <a:gd name="connsiteY78" fmla="*/ 387909 h 578834"/>
              <a:gd name="connsiteX79" fmla="*/ 1762973 w 2458276"/>
              <a:gd name="connsiteY79" fmla="*/ 357760 h 578834"/>
              <a:gd name="connsiteX80" fmla="*/ 1735492 w 2458276"/>
              <a:gd name="connsiteY80" fmla="*/ 357760 h 578834"/>
              <a:gd name="connsiteX81" fmla="*/ 1791798 w 2458276"/>
              <a:gd name="connsiteY81" fmla="*/ 410034 h 578834"/>
              <a:gd name="connsiteX82" fmla="*/ 1847072 w 2458276"/>
              <a:gd name="connsiteY82" fmla="*/ 362785 h 578834"/>
              <a:gd name="connsiteX83" fmla="*/ 1807535 w 2458276"/>
              <a:gd name="connsiteY83" fmla="*/ 315204 h 578834"/>
              <a:gd name="connsiteX84" fmla="*/ 1790454 w 2458276"/>
              <a:gd name="connsiteY84" fmla="*/ 306829 h 578834"/>
              <a:gd name="connsiteX85" fmla="*/ 1767024 w 2458276"/>
              <a:gd name="connsiteY85" fmla="*/ 281043 h 578834"/>
              <a:gd name="connsiteX86" fmla="*/ 1974427 w 2458276"/>
              <a:gd name="connsiteY86" fmla="*/ 351391 h 578834"/>
              <a:gd name="connsiteX87" fmla="*/ 1945271 w 2458276"/>
              <a:gd name="connsiteY87" fmla="*/ 385572 h 578834"/>
              <a:gd name="connsiteX88" fmla="*/ 1912765 w 2458276"/>
              <a:gd name="connsiteY88" fmla="*/ 346366 h 578834"/>
              <a:gd name="connsiteX89" fmla="*/ 1912765 w 2458276"/>
              <a:gd name="connsiteY89" fmla="*/ 301123 h 578834"/>
              <a:gd name="connsiteX90" fmla="*/ 1945271 w 2458276"/>
              <a:gd name="connsiteY90" fmla="*/ 261917 h 578834"/>
              <a:gd name="connsiteX91" fmla="*/ 1974427 w 2458276"/>
              <a:gd name="connsiteY91" fmla="*/ 296098 h 578834"/>
              <a:gd name="connsiteX92" fmla="*/ 1974427 w 2458276"/>
              <a:gd name="connsiteY92" fmla="*/ 351391 h 578834"/>
              <a:gd name="connsiteX93" fmla="*/ 2003232 w 2458276"/>
              <a:gd name="connsiteY93" fmla="*/ 350729 h 578834"/>
              <a:gd name="connsiteX94" fmla="*/ 2003232 w 2458276"/>
              <a:gd name="connsiteY94" fmla="*/ 296780 h 578834"/>
              <a:gd name="connsiteX95" fmla="*/ 1951640 w 2458276"/>
              <a:gd name="connsiteY95" fmla="*/ 239149 h 578834"/>
              <a:gd name="connsiteX96" fmla="*/ 1911110 w 2458276"/>
              <a:gd name="connsiteY96" fmla="*/ 262599 h 578834"/>
              <a:gd name="connsiteX97" fmla="*/ 1911110 w 2458276"/>
              <a:gd name="connsiteY97" fmla="*/ 242499 h 578834"/>
              <a:gd name="connsiteX98" fmla="*/ 1883960 w 2458276"/>
              <a:gd name="connsiteY98" fmla="*/ 242499 h 578834"/>
              <a:gd name="connsiteX99" fmla="*/ 1883960 w 2458276"/>
              <a:gd name="connsiteY99" fmla="*/ 466983 h 578834"/>
              <a:gd name="connsiteX100" fmla="*/ 1912785 w 2458276"/>
              <a:gd name="connsiteY100" fmla="*/ 466983 h 578834"/>
              <a:gd name="connsiteX101" fmla="*/ 1912785 w 2458276"/>
              <a:gd name="connsiteY101" fmla="*/ 387909 h 578834"/>
              <a:gd name="connsiteX102" fmla="*/ 1951640 w 2458276"/>
              <a:gd name="connsiteY102" fmla="*/ 408359 h 578834"/>
              <a:gd name="connsiteX103" fmla="*/ 2003232 w 2458276"/>
              <a:gd name="connsiteY103" fmla="*/ 350729 h 578834"/>
              <a:gd name="connsiteX104" fmla="*/ 2090350 w 2458276"/>
              <a:gd name="connsiteY104" fmla="*/ 385923 h 578834"/>
              <a:gd name="connsiteX105" fmla="*/ 2064213 w 2458276"/>
              <a:gd name="connsiteY105" fmla="*/ 358773 h 578834"/>
              <a:gd name="connsiteX106" fmla="*/ 2064213 w 2458276"/>
              <a:gd name="connsiteY106" fmla="*/ 353748 h 578834"/>
              <a:gd name="connsiteX107" fmla="*/ 2107762 w 2458276"/>
              <a:gd name="connsiteY107" fmla="*/ 327279 h 578834"/>
              <a:gd name="connsiteX108" fmla="*/ 2122856 w 2458276"/>
              <a:gd name="connsiteY108" fmla="*/ 327279 h 578834"/>
              <a:gd name="connsiteX109" fmla="*/ 2122856 w 2458276"/>
              <a:gd name="connsiteY109" fmla="*/ 351410 h 578834"/>
              <a:gd name="connsiteX110" fmla="*/ 2090350 w 2458276"/>
              <a:gd name="connsiteY110" fmla="*/ 385923 h 578834"/>
              <a:gd name="connsiteX111" fmla="*/ 2084001 w 2458276"/>
              <a:gd name="connsiteY111" fmla="*/ 408359 h 578834"/>
              <a:gd name="connsiteX112" fmla="*/ 2124862 w 2458276"/>
              <a:gd name="connsiteY112" fmla="*/ 385903 h 578834"/>
              <a:gd name="connsiteX113" fmla="*/ 2124862 w 2458276"/>
              <a:gd name="connsiteY113" fmla="*/ 406665 h 578834"/>
              <a:gd name="connsiteX114" fmla="*/ 2151661 w 2458276"/>
              <a:gd name="connsiteY114" fmla="*/ 406665 h 578834"/>
              <a:gd name="connsiteX115" fmla="*/ 2151661 w 2458276"/>
              <a:gd name="connsiteY115" fmla="*/ 291735 h 578834"/>
              <a:gd name="connsiteX116" fmla="*/ 2094712 w 2458276"/>
              <a:gd name="connsiteY116" fmla="*/ 239130 h 578834"/>
              <a:gd name="connsiteX117" fmla="*/ 2039439 w 2458276"/>
              <a:gd name="connsiteY117" fmla="*/ 288385 h 578834"/>
              <a:gd name="connsiteX118" fmla="*/ 2067251 w 2458276"/>
              <a:gd name="connsiteY118" fmla="*/ 288385 h 578834"/>
              <a:gd name="connsiteX119" fmla="*/ 2094732 w 2458276"/>
              <a:gd name="connsiteY119" fmla="*/ 261235 h 578834"/>
              <a:gd name="connsiteX120" fmla="*/ 2122875 w 2458276"/>
              <a:gd name="connsiteY120" fmla="*/ 291735 h 578834"/>
              <a:gd name="connsiteX121" fmla="*/ 2122875 w 2458276"/>
              <a:gd name="connsiteY121" fmla="*/ 304473 h 578834"/>
              <a:gd name="connsiteX122" fmla="*/ 2106106 w 2458276"/>
              <a:gd name="connsiteY122" fmla="*/ 304473 h 578834"/>
              <a:gd name="connsiteX123" fmla="*/ 2035407 w 2458276"/>
              <a:gd name="connsiteY123" fmla="*/ 355403 h 578834"/>
              <a:gd name="connsiteX124" fmla="*/ 2035407 w 2458276"/>
              <a:gd name="connsiteY124" fmla="*/ 360428 h 578834"/>
              <a:gd name="connsiteX125" fmla="*/ 2084001 w 2458276"/>
              <a:gd name="connsiteY125" fmla="*/ 408359 h 578834"/>
              <a:gd name="connsiteX126" fmla="*/ 2250503 w 2458276"/>
              <a:gd name="connsiteY126" fmla="*/ 410034 h 578834"/>
              <a:gd name="connsiteX127" fmla="*/ 2307452 w 2458276"/>
              <a:gd name="connsiteY127" fmla="*/ 350398 h 578834"/>
              <a:gd name="connsiteX128" fmla="*/ 2279640 w 2458276"/>
              <a:gd name="connsiteY128" fmla="*/ 350398 h 578834"/>
              <a:gd name="connsiteX129" fmla="*/ 2250484 w 2458276"/>
              <a:gd name="connsiteY129" fmla="*/ 387247 h 578834"/>
              <a:gd name="connsiteX130" fmla="*/ 2219984 w 2458276"/>
              <a:gd name="connsiteY130" fmla="*/ 351391 h 578834"/>
              <a:gd name="connsiteX131" fmla="*/ 2219984 w 2458276"/>
              <a:gd name="connsiteY131" fmla="*/ 297773 h 578834"/>
              <a:gd name="connsiteX132" fmla="*/ 2250484 w 2458276"/>
              <a:gd name="connsiteY132" fmla="*/ 261936 h 578834"/>
              <a:gd name="connsiteX133" fmla="*/ 2279640 w 2458276"/>
              <a:gd name="connsiteY133" fmla="*/ 296780 h 578834"/>
              <a:gd name="connsiteX134" fmla="*/ 2307452 w 2458276"/>
              <a:gd name="connsiteY134" fmla="*/ 296780 h 578834"/>
              <a:gd name="connsiteX135" fmla="*/ 2250503 w 2458276"/>
              <a:gd name="connsiteY135" fmla="*/ 239149 h 578834"/>
              <a:gd name="connsiteX136" fmla="*/ 2191198 w 2458276"/>
              <a:gd name="connsiteY136" fmla="*/ 299448 h 578834"/>
              <a:gd name="connsiteX137" fmla="*/ 2191198 w 2458276"/>
              <a:gd name="connsiteY137" fmla="*/ 349716 h 578834"/>
              <a:gd name="connsiteX138" fmla="*/ 2250503 w 2458276"/>
              <a:gd name="connsiteY138" fmla="*/ 410034 h 578834"/>
              <a:gd name="connsiteX139" fmla="*/ 2398601 w 2458276"/>
              <a:gd name="connsiteY139" fmla="*/ 261605 h 578834"/>
              <a:gd name="connsiteX140" fmla="*/ 2429763 w 2458276"/>
              <a:gd name="connsiteY140" fmla="*/ 297461 h 578834"/>
              <a:gd name="connsiteX141" fmla="*/ 2429763 w 2458276"/>
              <a:gd name="connsiteY141" fmla="*/ 311192 h 578834"/>
              <a:gd name="connsiteX142" fmla="*/ 2367458 w 2458276"/>
              <a:gd name="connsiteY142" fmla="*/ 311192 h 578834"/>
              <a:gd name="connsiteX143" fmla="*/ 2367458 w 2458276"/>
              <a:gd name="connsiteY143" fmla="*/ 297461 h 578834"/>
              <a:gd name="connsiteX144" fmla="*/ 2398601 w 2458276"/>
              <a:gd name="connsiteY144" fmla="*/ 261605 h 578834"/>
              <a:gd name="connsiteX145" fmla="*/ 2338633 w 2458276"/>
              <a:gd name="connsiteY145" fmla="*/ 299448 h 578834"/>
              <a:gd name="connsiteX146" fmla="*/ 2338633 w 2458276"/>
              <a:gd name="connsiteY146" fmla="*/ 349716 h 578834"/>
              <a:gd name="connsiteX147" fmla="*/ 2397939 w 2458276"/>
              <a:gd name="connsiteY147" fmla="*/ 410015 h 578834"/>
              <a:gd name="connsiteX148" fmla="*/ 2457594 w 2458276"/>
              <a:gd name="connsiteY148" fmla="*/ 356747 h 578834"/>
              <a:gd name="connsiteX149" fmla="*/ 2429782 w 2458276"/>
              <a:gd name="connsiteY149" fmla="*/ 356747 h 578834"/>
              <a:gd name="connsiteX150" fmla="*/ 2397958 w 2458276"/>
              <a:gd name="connsiteY150" fmla="*/ 387578 h 578834"/>
              <a:gd name="connsiteX151" fmla="*/ 2367478 w 2458276"/>
              <a:gd name="connsiteY151" fmla="*/ 351391 h 578834"/>
              <a:gd name="connsiteX152" fmla="*/ 2367478 w 2458276"/>
              <a:gd name="connsiteY152" fmla="*/ 334622 h 578834"/>
              <a:gd name="connsiteX153" fmla="*/ 2458276 w 2458276"/>
              <a:gd name="connsiteY153" fmla="*/ 334622 h 578834"/>
              <a:gd name="connsiteX154" fmla="*/ 2458276 w 2458276"/>
              <a:gd name="connsiteY154" fmla="*/ 298766 h 578834"/>
              <a:gd name="connsiteX155" fmla="*/ 2398640 w 2458276"/>
              <a:gd name="connsiteY155" fmla="*/ 239130 h 578834"/>
              <a:gd name="connsiteX156" fmla="*/ 2338633 w 2458276"/>
              <a:gd name="connsiteY156" fmla="*/ 299448 h 578834"/>
              <a:gd name="connsiteX157" fmla="*/ 824820 w 2458276"/>
              <a:gd name="connsiteY157" fmla="*/ 410034 h 578834"/>
              <a:gd name="connsiteX158" fmla="*/ 889832 w 2458276"/>
              <a:gd name="connsiteY158" fmla="*/ 394628 h 578834"/>
              <a:gd name="connsiteX159" fmla="*/ 889832 w 2458276"/>
              <a:gd name="connsiteY159" fmla="*/ 275025 h 578834"/>
              <a:gd name="connsiteX160" fmla="*/ 817789 w 2458276"/>
              <a:gd name="connsiteY160" fmla="*/ 275025 h 578834"/>
              <a:gd name="connsiteX161" fmla="*/ 817789 w 2458276"/>
              <a:gd name="connsiteY161" fmla="*/ 300149 h 578834"/>
              <a:gd name="connsiteX162" fmla="*/ 860676 w 2458276"/>
              <a:gd name="connsiteY162" fmla="*/ 300149 h 578834"/>
              <a:gd name="connsiteX163" fmla="*/ 860676 w 2458276"/>
              <a:gd name="connsiteY163" fmla="*/ 377879 h 578834"/>
              <a:gd name="connsiteX164" fmla="*/ 825171 w 2458276"/>
              <a:gd name="connsiteY164" fmla="*/ 384910 h 578834"/>
              <a:gd name="connsiteX165" fmla="*/ 775234 w 2458276"/>
              <a:gd name="connsiteY165" fmla="*/ 322274 h 578834"/>
              <a:gd name="connsiteX166" fmla="*/ 775234 w 2458276"/>
              <a:gd name="connsiteY166" fmla="*/ 241506 h 578834"/>
              <a:gd name="connsiteX167" fmla="*/ 820146 w 2458276"/>
              <a:gd name="connsiteY167" fmla="*/ 193925 h 578834"/>
              <a:gd name="connsiteX168" fmla="*/ 861689 w 2458276"/>
              <a:gd name="connsiteY168" fmla="*/ 235137 h 578834"/>
              <a:gd name="connsiteX169" fmla="*/ 892189 w 2458276"/>
              <a:gd name="connsiteY169" fmla="*/ 235137 h 578834"/>
              <a:gd name="connsiteX170" fmla="*/ 820146 w 2458276"/>
              <a:gd name="connsiteY170" fmla="*/ 168801 h 578834"/>
              <a:gd name="connsiteX171" fmla="*/ 745747 w 2458276"/>
              <a:gd name="connsiteY171" fmla="*/ 242519 h 578834"/>
              <a:gd name="connsiteX172" fmla="*/ 745747 w 2458276"/>
              <a:gd name="connsiteY172" fmla="*/ 320911 h 578834"/>
              <a:gd name="connsiteX173" fmla="*/ 824820 w 2458276"/>
              <a:gd name="connsiteY173" fmla="*/ 410034 h 578834"/>
              <a:gd name="connsiteX174" fmla="*/ 354371 w 2458276"/>
              <a:gd name="connsiteY174" fmla="*/ 214064 h 578834"/>
              <a:gd name="connsiteX175" fmla="*/ 388785 w 2458276"/>
              <a:gd name="connsiteY175" fmla="*/ 155304 h 578834"/>
              <a:gd name="connsiteX176" fmla="*/ 354371 w 2458276"/>
              <a:gd name="connsiteY176" fmla="*/ 214064 h 578834"/>
              <a:gd name="connsiteX177" fmla="*/ 202826 w 2458276"/>
              <a:gd name="connsiteY177" fmla="*/ 226081 h 578834"/>
              <a:gd name="connsiteX178" fmla="*/ 244914 w 2458276"/>
              <a:gd name="connsiteY178" fmla="*/ 154622 h 578834"/>
              <a:gd name="connsiteX179" fmla="*/ 202826 w 2458276"/>
              <a:gd name="connsiteY179" fmla="*/ 226081 h 578834"/>
              <a:gd name="connsiteX180" fmla="*/ 176377 w 2458276"/>
              <a:gd name="connsiteY180" fmla="*/ 415293 h 578834"/>
              <a:gd name="connsiteX181" fmla="*/ 156356 w 2458276"/>
              <a:gd name="connsiteY181" fmla="*/ 395329 h 578834"/>
              <a:gd name="connsiteX182" fmla="*/ 240220 w 2458276"/>
              <a:gd name="connsiteY182" fmla="*/ 310296 h 578834"/>
              <a:gd name="connsiteX183" fmla="*/ 176377 w 2458276"/>
              <a:gd name="connsiteY183" fmla="*/ 415293 h 578834"/>
              <a:gd name="connsiteX184" fmla="*/ 396849 w 2458276"/>
              <a:gd name="connsiteY184" fmla="*/ 303051 h 578834"/>
              <a:gd name="connsiteX185" fmla="*/ 348742 w 2458276"/>
              <a:gd name="connsiteY185" fmla="*/ 347145 h 578834"/>
              <a:gd name="connsiteX186" fmla="*/ 376808 w 2458276"/>
              <a:gd name="connsiteY186" fmla="*/ 383215 h 578834"/>
              <a:gd name="connsiteX187" fmla="*/ 388006 w 2458276"/>
              <a:gd name="connsiteY187" fmla="*/ 372795 h 578834"/>
              <a:gd name="connsiteX188" fmla="*/ 375269 w 2458276"/>
              <a:gd name="connsiteY188" fmla="*/ 344243 h 578834"/>
              <a:gd name="connsiteX189" fmla="*/ 395232 w 2458276"/>
              <a:gd name="connsiteY189" fmla="*/ 327085 h 578834"/>
              <a:gd name="connsiteX190" fmla="*/ 423473 w 2458276"/>
              <a:gd name="connsiteY190" fmla="*/ 364966 h 578834"/>
              <a:gd name="connsiteX191" fmla="*/ 375191 w 2458276"/>
              <a:gd name="connsiteY191" fmla="*/ 415273 h 578834"/>
              <a:gd name="connsiteX192" fmla="*/ 319898 w 2458276"/>
              <a:gd name="connsiteY192" fmla="*/ 348703 h 578834"/>
              <a:gd name="connsiteX193" fmla="*/ 371179 w 2458276"/>
              <a:gd name="connsiteY193" fmla="*/ 272551 h 578834"/>
              <a:gd name="connsiteX194" fmla="*/ 415857 w 2458276"/>
              <a:gd name="connsiteY194" fmla="*/ 260495 h 578834"/>
              <a:gd name="connsiteX195" fmla="*/ 392389 w 2458276"/>
              <a:gd name="connsiteY195" fmla="*/ 247797 h 578834"/>
              <a:gd name="connsiteX196" fmla="*/ 371043 w 2458276"/>
              <a:gd name="connsiteY196" fmla="*/ 251205 h 578834"/>
              <a:gd name="connsiteX197" fmla="*/ 359182 w 2458276"/>
              <a:gd name="connsiteY197" fmla="*/ 236481 h 578834"/>
              <a:gd name="connsiteX198" fmla="*/ 415293 w 2458276"/>
              <a:gd name="connsiteY198" fmla="*/ 160309 h 578834"/>
              <a:gd name="connsiteX199" fmla="*/ 387227 w 2458276"/>
              <a:gd name="connsiteY199" fmla="*/ 133042 h 578834"/>
              <a:gd name="connsiteX200" fmla="*/ 329500 w 2458276"/>
              <a:gd name="connsiteY200" fmla="*/ 212408 h 578834"/>
              <a:gd name="connsiteX201" fmla="*/ 331116 w 2458276"/>
              <a:gd name="connsiteY201" fmla="*/ 230852 h 578834"/>
              <a:gd name="connsiteX202" fmla="*/ 266708 w 2458276"/>
              <a:gd name="connsiteY202" fmla="*/ 272376 h 578834"/>
              <a:gd name="connsiteX203" fmla="*/ 269805 w 2458276"/>
              <a:gd name="connsiteY203" fmla="*/ 248069 h 578834"/>
              <a:gd name="connsiteX204" fmla="*/ 292631 w 2458276"/>
              <a:gd name="connsiteY204" fmla="*/ 210013 h 578834"/>
              <a:gd name="connsiteX205" fmla="*/ 283010 w 2458276"/>
              <a:gd name="connsiteY205" fmla="*/ 199593 h 578834"/>
              <a:gd name="connsiteX206" fmla="*/ 251750 w 2458276"/>
              <a:gd name="connsiteY206" fmla="*/ 240474 h 578834"/>
              <a:gd name="connsiteX207" fmla="*/ 218076 w 2458276"/>
              <a:gd name="connsiteY207" fmla="*/ 260534 h 578834"/>
              <a:gd name="connsiteX208" fmla="*/ 204442 w 2458276"/>
              <a:gd name="connsiteY208" fmla="*/ 248498 h 578834"/>
              <a:gd name="connsiteX209" fmla="*/ 272590 w 2458276"/>
              <a:gd name="connsiteY209" fmla="*/ 158693 h 578834"/>
              <a:gd name="connsiteX210" fmla="*/ 245343 w 2458276"/>
              <a:gd name="connsiteY210" fmla="*/ 133023 h 578834"/>
              <a:gd name="connsiteX211" fmla="*/ 178792 w 2458276"/>
              <a:gd name="connsiteY211" fmla="*/ 228437 h 578834"/>
              <a:gd name="connsiteX212" fmla="*/ 161166 w 2458276"/>
              <a:gd name="connsiteY212" fmla="*/ 204384 h 578834"/>
              <a:gd name="connsiteX213" fmla="*/ 165178 w 2458276"/>
              <a:gd name="connsiteY213" fmla="*/ 180331 h 578834"/>
              <a:gd name="connsiteX214" fmla="*/ 158751 w 2458276"/>
              <a:gd name="connsiteY214" fmla="*/ 173105 h 578834"/>
              <a:gd name="connsiteX215" fmla="*/ 139509 w 2458276"/>
              <a:gd name="connsiteY215" fmla="*/ 207578 h 578834"/>
              <a:gd name="connsiteX216" fmla="*/ 179610 w 2458276"/>
              <a:gd name="connsiteY216" fmla="*/ 250874 h 578834"/>
              <a:gd name="connsiteX217" fmla="*/ 213285 w 2458276"/>
              <a:gd name="connsiteY217" fmla="*/ 280536 h 578834"/>
              <a:gd name="connsiteX218" fmla="*/ 245362 w 2458276"/>
              <a:gd name="connsiteY218" fmla="*/ 269318 h 578834"/>
              <a:gd name="connsiteX219" fmla="*/ 242947 w 2458276"/>
              <a:gd name="connsiteY219" fmla="*/ 284548 h 578834"/>
              <a:gd name="connsiteX220" fmla="*/ 158771 w 2458276"/>
              <a:gd name="connsiteY220" fmla="*/ 336647 h 578834"/>
              <a:gd name="connsiteX221" fmla="*/ 129907 w 2458276"/>
              <a:gd name="connsiteY221" fmla="*/ 393596 h 578834"/>
              <a:gd name="connsiteX222" fmla="*/ 176397 w 2458276"/>
              <a:gd name="connsiteY222" fmla="*/ 440067 h 578834"/>
              <a:gd name="connsiteX223" fmla="*/ 254964 w 2458276"/>
              <a:gd name="connsiteY223" fmla="*/ 369523 h 578834"/>
              <a:gd name="connsiteX224" fmla="*/ 265559 w 2458276"/>
              <a:gd name="connsiteY224" fmla="*/ 296624 h 578834"/>
              <a:gd name="connsiteX225" fmla="*/ 339140 w 2458276"/>
              <a:gd name="connsiteY225" fmla="*/ 250075 h 578834"/>
              <a:gd name="connsiteX226" fmla="*/ 347165 w 2458276"/>
              <a:gd name="connsiteY226" fmla="*/ 259697 h 578834"/>
              <a:gd name="connsiteX227" fmla="*/ 290255 w 2458276"/>
              <a:gd name="connsiteY227" fmla="*/ 351878 h 578834"/>
              <a:gd name="connsiteX228" fmla="*/ 373633 w 2458276"/>
              <a:gd name="connsiteY228" fmla="*/ 440067 h 578834"/>
              <a:gd name="connsiteX229" fmla="*/ 450603 w 2458276"/>
              <a:gd name="connsiteY229" fmla="*/ 366329 h 578834"/>
              <a:gd name="connsiteX230" fmla="*/ 396849 w 2458276"/>
              <a:gd name="connsiteY230" fmla="*/ 303051 h 578834"/>
              <a:gd name="connsiteX231" fmla="*/ 534682 w 2458276"/>
              <a:gd name="connsiteY231" fmla="*/ 371900 h 578834"/>
              <a:gd name="connsiteX232" fmla="*/ 533202 w 2458276"/>
              <a:gd name="connsiteY232" fmla="*/ 372211 h 578834"/>
              <a:gd name="connsiteX233" fmla="*/ 532326 w 2458276"/>
              <a:gd name="connsiteY233" fmla="*/ 371179 h 578834"/>
              <a:gd name="connsiteX234" fmla="*/ 541966 w 2458276"/>
              <a:gd name="connsiteY234" fmla="*/ 309459 h 578834"/>
              <a:gd name="connsiteX235" fmla="*/ 509110 w 2458276"/>
              <a:gd name="connsiteY235" fmla="*/ 252529 h 578834"/>
              <a:gd name="connsiteX236" fmla="*/ 489867 w 2458276"/>
              <a:gd name="connsiteY236" fmla="*/ 272571 h 578834"/>
              <a:gd name="connsiteX237" fmla="*/ 516316 w 2458276"/>
              <a:gd name="connsiteY237" fmla="*/ 343133 h 578834"/>
              <a:gd name="connsiteX238" fmla="*/ 505896 w 2458276"/>
              <a:gd name="connsiteY238" fmla="*/ 400861 h 578834"/>
              <a:gd name="connsiteX239" fmla="*/ 289437 w 2458276"/>
              <a:gd name="connsiteY239" fmla="*/ 547556 h 578834"/>
              <a:gd name="connsiteX240" fmla="*/ 207734 w 2458276"/>
              <a:gd name="connsiteY240" fmla="*/ 534799 h 578834"/>
              <a:gd name="connsiteX241" fmla="*/ 207344 w 2458276"/>
              <a:gd name="connsiteY241" fmla="*/ 533202 h 578834"/>
              <a:gd name="connsiteX242" fmla="*/ 208513 w 2458276"/>
              <a:gd name="connsiteY242" fmla="*/ 532384 h 578834"/>
              <a:gd name="connsiteX243" fmla="*/ 270155 w 2458276"/>
              <a:gd name="connsiteY243" fmla="*/ 541966 h 578834"/>
              <a:gd name="connsiteX244" fmla="*/ 326286 w 2458276"/>
              <a:gd name="connsiteY244" fmla="*/ 509869 h 578834"/>
              <a:gd name="connsiteX245" fmla="*/ 306225 w 2458276"/>
              <a:gd name="connsiteY245" fmla="*/ 489848 h 578834"/>
              <a:gd name="connsiteX246" fmla="*/ 236481 w 2458276"/>
              <a:gd name="connsiteY246" fmla="*/ 517095 h 578834"/>
              <a:gd name="connsiteX247" fmla="*/ 177955 w 2458276"/>
              <a:gd name="connsiteY247" fmla="*/ 506675 h 578834"/>
              <a:gd name="connsiteX248" fmla="*/ 31240 w 2458276"/>
              <a:gd name="connsiteY248" fmla="*/ 289398 h 578834"/>
              <a:gd name="connsiteX249" fmla="*/ 44172 w 2458276"/>
              <a:gd name="connsiteY249" fmla="*/ 207695 h 578834"/>
              <a:gd name="connsiteX250" fmla="*/ 45594 w 2458276"/>
              <a:gd name="connsiteY250" fmla="*/ 207461 h 578834"/>
              <a:gd name="connsiteX251" fmla="*/ 46431 w 2458276"/>
              <a:gd name="connsiteY251" fmla="*/ 208494 h 578834"/>
              <a:gd name="connsiteX252" fmla="*/ 36849 w 2458276"/>
              <a:gd name="connsiteY252" fmla="*/ 270156 h 578834"/>
              <a:gd name="connsiteX253" fmla="*/ 69706 w 2458276"/>
              <a:gd name="connsiteY253" fmla="*/ 326286 h 578834"/>
              <a:gd name="connsiteX254" fmla="*/ 88948 w 2458276"/>
              <a:gd name="connsiteY254" fmla="*/ 307063 h 578834"/>
              <a:gd name="connsiteX255" fmla="*/ 62499 w 2458276"/>
              <a:gd name="connsiteY255" fmla="*/ 236500 h 578834"/>
              <a:gd name="connsiteX256" fmla="*/ 72919 w 2458276"/>
              <a:gd name="connsiteY256" fmla="*/ 177974 h 578834"/>
              <a:gd name="connsiteX257" fmla="*/ 289398 w 2458276"/>
              <a:gd name="connsiteY257" fmla="*/ 31259 h 578834"/>
              <a:gd name="connsiteX258" fmla="*/ 371159 w 2458276"/>
              <a:gd name="connsiteY258" fmla="*/ 44873 h 578834"/>
              <a:gd name="connsiteX259" fmla="*/ 371393 w 2458276"/>
              <a:gd name="connsiteY259" fmla="*/ 46315 h 578834"/>
              <a:gd name="connsiteX260" fmla="*/ 370341 w 2458276"/>
              <a:gd name="connsiteY260" fmla="*/ 47113 h 578834"/>
              <a:gd name="connsiteX261" fmla="*/ 308602 w 2458276"/>
              <a:gd name="connsiteY261" fmla="*/ 36869 h 578834"/>
              <a:gd name="connsiteX262" fmla="*/ 252510 w 2458276"/>
              <a:gd name="connsiteY262" fmla="*/ 69745 h 578834"/>
              <a:gd name="connsiteX263" fmla="*/ 272532 w 2458276"/>
              <a:gd name="connsiteY263" fmla="*/ 88968 h 578834"/>
              <a:gd name="connsiteX264" fmla="*/ 342276 w 2458276"/>
              <a:gd name="connsiteY264" fmla="*/ 62519 h 578834"/>
              <a:gd name="connsiteX265" fmla="*/ 400802 w 2458276"/>
              <a:gd name="connsiteY265" fmla="*/ 72939 h 578834"/>
              <a:gd name="connsiteX266" fmla="*/ 547517 w 2458276"/>
              <a:gd name="connsiteY266" fmla="*/ 289398 h 578834"/>
              <a:gd name="connsiteX267" fmla="*/ 534682 w 2458276"/>
              <a:gd name="connsiteY267" fmla="*/ 371900 h 578834"/>
              <a:gd name="connsiteX268" fmla="*/ 289437 w 2458276"/>
              <a:gd name="connsiteY268" fmla="*/ 13614 h 578834"/>
              <a:gd name="connsiteX269" fmla="*/ 13614 w 2458276"/>
              <a:gd name="connsiteY269" fmla="*/ 289398 h 578834"/>
              <a:gd name="connsiteX270" fmla="*/ 289437 w 2458276"/>
              <a:gd name="connsiteY270" fmla="*/ 565182 h 578834"/>
              <a:gd name="connsiteX271" fmla="*/ 565202 w 2458276"/>
              <a:gd name="connsiteY271" fmla="*/ 289398 h 578834"/>
              <a:gd name="connsiteX272" fmla="*/ 289437 w 2458276"/>
              <a:gd name="connsiteY272" fmla="*/ 13614 h 578834"/>
              <a:gd name="connsiteX273" fmla="*/ 289437 w 2458276"/>
              <a:gd name="connsiteY273" fmla="*/ 578835 h 578834"/>
              <a:gd name="connsiteX274" fmla="*/ 0 w 2458276"/>
              <a:gd name="connsiteY274" fmla="*/ 289417 h 578834"/>
              <a:gd name="connsiteX275" fmla="*/ 289437 w 2458276"/>
              <a:gd name="connsiteY275" fmla="*/ 0 h 578834"/>
              <a:gd name="connsiteX276" fmla="*/ 578854 w 2458276"/>
              <a:gd name="connsiteY276" fmla="*/ 289417 h 578834"/>
              <a:gd name="connsiteX277" fmla="*/ 289437 w 2458276"/>
              <a:gd name="connsiteY277" fmla="*/ 578835 h 57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</a:cxnLst>
            <a:rect l="l" t="t" r="r" b="b"/>
            <a:pathLst>
              <a:path w="2458276" h="578834">
                <a:moveTo>
                  <a:pt x="939088" y="406684"/>
                </a:moveTo>
                <a:lnTo>
                  <a:pt x="939088" y="172131"/>
                </a:lnTo>
                <a:lnTo>
                  <a:pt x="1057017" y="172131"/>
                </a:lnTo>
                <a:lnTo>
                  <a:pt x="1057017" y="197937"/>
                </a:lnTo>
                <a:lnTo>
                  <a:pt x="968555" y="197937"/>
                </a:lnTo>
                <a:lnTo>
                  <a:pt x="968555" y="275005"/>
                </a:lnTo>
                <a:lnTo>
                  <a:pt x="1051329" y="275005"/>
                </a:lnTo>
                <a:lnTo>
                  <a:pt x="1051329" y="300129"/>
                </a:lnTo>
                <a:lnTo>
                  <a:pt x="968555" y="300129"/>
                </a:lnTo>
                <a:lnTo>
                  <a:pt x="968555" y="380878"/>
                </a:lnTo>
                <a:lnTo>
                  <a:pt x="1057017" y="380878"/>
                </a:lnTo>
                <a:lnTo>
                  <a:pt x="1057017" y="406684"/>
                </a:lnTo>
                <a:lnTo>
                  <a:pt x="939088" y="406684"/>
                </a:lnTo>
                <a:close/>
                <a:moveTo>
                  <a:pt x="1189377" y="309848"/>
                </a:moveTo>
                <a:lnTo>
                  <a:pt x="1220208" y="198950"/>
                </a:lnTo>
                <a:lnTo>
                  <a:pt x="1251039" y="309848"/>
                </a:lnTo>
                <a:lnTo>
                  <a:pt x="1189377" y="309848"/>
                </a:lnTo>
                <a:close/>
                <a:moveTo>
                  <a:pt x="1162578" y="406684"/>
                </a:moveTo>
                <a:lnTo>
                  <a:pt x="1182677" y="334641"/>
                </a:lnTo>
                <a:lnTo>
                  <a:pt x="1258070" y="334641"/>
                </a:lnTo>
                <a:lnTo>
                  <a:pt x="1278170" y="406684"/>
                </a:lnTo>
                <a:lnTo>
                  <a:pt x="1309001" y="406684"/>
                </a:lnTo>
                <a:lnTo>
                  <a:pt x="1239314" y="172151"/>
                </a:lnTo>
                <a:lnTo>
                  <a:pt x="1202465" y="172151"/>
                </a:lnTo>
                <a:lnTo>
                  <a:pt x="1132779" y="406684"/>
                </a:lnTo>
                <a:lnTo>
                  <a:pt x="1162578" y="406684"/>
                </a:lnTo>
                <a:close/>
                <a:moveTo>
                  <a:pt x="1393430" y="261605"/>
                </a:moveTo>
                <a:cubicBezTo>
                  <a:pt x="1414543" y="261605"/>
                  <a:pt x="1424592" y="272999"/>
                  <a:pt x="1424592" y="297461"/>
                </a:cubicBezTo>
                <a:lnTo>
                  <a:pt x="1424592" y="311192"/>
                </a:lnTo>
                <a:lnTo>
                  <a:pt x="1362288" y="311192"/>
                </a:lnTo>
                <a:lnTo>
                  <a:pt x="1362288" y="297461"/>
                </a:lnTo>
                <a:cubicBezTo>
                  <a:pt x="1362268" y="272979"/>
                  <a:pt x="1372318" y="261605"/>
                  <a:pt x="1393430" y="261605"/>
                </a:cubicBezTo>
                <a:close/>
                <a:moveTo>
                  <a:pt x="1333443" y="299448"/>
                </a:moveTo>
                <a:lnTo>
                  <a:pt x="1333443" y="349716"/>
                </a:lnTo>
                <a:cubicBezTo>
                  <a:pt x="1333443" y="388902"/>
                  <a:pt x="1354556" y="410015"/>
                  <a:pt x="1392748" y="410015"/>
                </a:cubicBezTo>
                <a:cubicBezTo>
                  <a:pt x="1432285" y="410015"/>
                  <a:pt x="1451061" y="392934"/>
                  <a:pt x="1452404" y="356747"/>
                </a:cubicBezTo>
                <a:lnTo>
                  <a:pt x="1424592" y="356747"/>
                </a:lnTo>
                <a:cubicBezTo>
                  <a:pt x="1423599" y="378521"/>
                  <a:pt x="1413880" y="387578"/>
                  <a:pt x="1392768" y="387578"/>
                </a:cubicBezTo>
                <a:cubicBezTo>
                  <a:pt x="1372318" y="387578"/>
                  <a:pt x="1362288" y="375853"/>
                  <a:pt x="1362288" y="351391"/>
                </a:cubicBezTo>
                <a:lnTo>
                  <a:pt x="1362288" y="334622"/>
                </a:lnTo>
                <a:lnTo>
                  <a:pt x="1453086" y="334622"/>
                </a:lnTo>
                <a:lnTo>
                  <a:pt x="1453086" y="298766"/>
                </a:lnTo>
                <a:cubicBezTo>
                  <a:pt x="1453086" y="259911"/>
                  <a:pt x="1432324" y="239130"/>
                  <a:pt x="1393450" y="239130"/>
                </a:cubicBezTo>
                <a:cubicBezTo>
                  <a:pt x="1354575" y="239130"/>
                  <a:pt x="1333443" y="260262"/>
                  <a:pt x="1333443" y="299448"/>
                </a:cubicBezTo>
                <a:close/>
                <a:moveTo>
                  <a:pt x="1565659" y="269980"/>
                </a:moveTo>
                <a:lnTo>
                  <a:pt x="1565659" y="241155"/>
                </a:lnTo>
                <a:lnTo>
                  <a:pt x="1562640" y="241155"/>
                </a:lnTo>
                <a:cubicBezTo>
                  <a:pt x="1542190" y="241155"/>
                  <a:pt x="1528128" y="250212"/>
                  <a:pt x="1520104" y="267292"/>
                </a:cubicBezTo>
                <a:lnTo>
                  <a:pt x="1520104" y="242499"/>
                </a:lnTo>
                <a:lnTo>
                  <a:pt x="1492954" y="242499"/>
                </a:lnTo>
                <a:lnTo>
                  <a:pt x="1492954" y="406684"/>
                </a:lnTo>
                <a:lnTo>
                  <a:pt x="1521779" y="406684"/>
                </a:lnTo>
                <a:lnTo>
                  <a:pt x="1521779" y="307160"/>
                </a:lnTo>
                <a:cubicBezTo>
                  <a:pt x="1521779" y="285386"/>
                  <a:pt x="1532160" y="269299"/>
                  <a:pt x="1558959" y="269299"/>
                </a:cubicBezTo>
                <a:cubicBezTo>
                  <a:pt x="1561627" y="269299"/>
                  <a:pt x="1564315" y="269630"/>
                  <a:pt x="1565659" y="269980"/>
                </a:cubicBezTo>
                <a:close/>
                <a:moveTo>
                  <a:pt x="1644713" y="387247"/>
                </a:moveTo>
                <a:cubicBezTo>
                  <a:pt x="1623620" y="387247"/>
                  <a:pt x="1613882" y="375834"/>
                  <a:pt x="1613882" y="351391"/>
                </a:cubicBezTo>
                <a:lnTo>
                  <a:pt x="1613882" y="297773"/>
                </a:lnTo>
                <a:cubicBezTo>
                  <a:pt x="1613882" y="273330"/>
                  <a:pt x="1623601" y="261936"/>
                  <a:pt x="1644713" y="261936"/>
                </a:cubicBezTo>
                <a:cubicBezTo>
                  <a:pt x="1665825" y="261936"/>
                  <a:pt x="1675544" y="273330"/>
                  <a:pt x="1675544" y="297773"/>
                </a:cubicBezTo>
                <a:lnTo>
                  <a:pt x="1675544" y="351391"/>
                </a:lnTo>
                <a:cubicBezTo>
                  <a:pt x="1675544" y="375853"/>
                  <a:pt x="1665825" y="387247"/>
                  <a:pt x="1644713" y="387247"/>
                </a:cubicBezTo>
                <a:close/>
                <a:moveTo>
                  <a:pt x="1644713" y="410034"/>
                </a:moveTo>
                <a:cubicBezTo>
                  <a:pt x="1683588" y="410034"/>
                  <a:pt x="1704369" y="388941"/>
                  <a:pt x="1704369" y="349736"/>
                </a:cubicBezTo>
                <a:lnTo>
                  <a:pt x="1704369" y="299467"/>
                </a:lnTo>
                <a:cubicBezTo>
                  <a:pt x="1704369" y="260281"/>
                  <a:pt x="1683607" y="239169"/>
                  <a:pt x="1644713" y="239169"/>
                </a:cubicBezTo>
                <a:cubicBezTo>
                  <a:pt x="1605858" y="239169"/>
                  <a:pt x="1585077" y="260281"/>
                  <a:pt x="1585077" y="299467"/>
                </a:cubicBezTo>
                <a:lnTo>
                  <a:pt x="1585077" y="349736"/>
                </a:lnTo>
                <a:cubicBezTo>
                  <a:pt x="1585077" y="388941"/>
                  <a:pt x="1605858" y="410034"/>
                  <a:pt x="1644713" y="410034"/>
                </a:cubicBezTo>
                <a:close/>
                <a:moveTo>
                  <a:pt x="1767024" y="281043"/>
                </a:moveTo>
                <a:cubicBezTo>
                  <a:pt x="1767024" y="267974"/>
                  <a:pt x="1776061" y="261274"/>
                  <a:pt x="1791817" y="261274"/>
                </a:cubicBezTo>
                <a:cubicBezTo>
                  <a:pt x="1810573" y="261274"/>
                  <a:pt x="1818266" y="270311"/>
                  <a:pt x="1818266" y="290080"/>
                </a:cubicBezTo>
                <a:lnTo>
                  <a:pt x="1845767" y="290080"/>
                </a:lnTo>
                <a:cubicBezTo>
                  <a:pt x="1845767" y="255237"/>
                  <a:pt x="1829660" y="239149"/>
                  <a:pt x="1791817" y="239149"/>
                </a:cubicBezTo>
                <a:cubicBezTo>
                  <a:pt x="1757968" y="239149"/>
                  <a:pt x="1739192" y="255918"/>
                  <a:pt x="1739192" y="285055"/>
                </a:cubicBezTo>
                <a:cubicBezTo>
                  <a:pt x="1739192" y="312185"/>
                  <a:pt x="1756604" y="321904"/>
                  <a:pt x="1778729" y="332635"/>
                </a:cubicBezTo>
                <a:lnTo>
                  <a:pt x="1795810" y="341010"/>
                </a:lnTo>
                <a:cubicBezTo>
                  <a:pt x="1813222" y="349365"/>
                  <a:pt x="1819279" y="353397"/>
                  <a:pt x="1819279" y="366816"/>
                </a:cubicBezTo>
                <a:cubicBezTo>
                  <a:pt x="1819279" y="381229"/>
                  <a:pt x="1809229" y="387909"/>
                  <a:pt x="1791798" y="387909"/>
                </a:cubicBezTo>
                <a:cubicBezTo>
                  <a:pt x="1771679" y="387909"/>
                  <a:pt x="1762973" y="378541"/>
                  <a:pt x="1762973" y="357760"/>
                </a:cubicBezTo>
                <a:lnTo>
                  <a:pt x="1735492" y="357760"/>
                </a:lnTo>
                <a:cubicBezTo>
                  <a:pt x="1735492" y="393616"/>
                  <a:pt x="1752904" y="410034"/>
                  <a:pt x="1791798" y="410034"/>
                </a:cubicBezTo>
                <a:cubicBezTo>
                  <a:pt x="1826972" y="410034"/>
                  <a:pt x="1847072" y="392622"/>
                  <a:pt x="1847072" y="362785"/>
                </a:cubicBezTo>
                <a:cubicBezTo>
                  <a:pt x="1847072" y="335654"/>
                  <a:pt x="1829640" y="325935"/>
                  <a:pt x="1807535" y="315204"/>
                </a:cubicBezTo>
                <a:lnTo>
                  <a:pt x="1790454" y="306829"/>
                </a:lnTo>
                <a:cubicBezTo>
                  <a:pt x="1773062" y="298454"/>
                  <a:pt x="1767024" y="294442"/>
                  <a:pt x="1767024" y="281043"/>
                </a:cubicBezTo>
                <a:close/>
                <a:moveTo>
                  <a:pt x="1974427" y="351391"/>
                </a:moveTo>
                <a:cubicBezTo>
                  <a:pt x="1974427" y="374841"/>
                  <a:pt x="1965370" y="385572"/>
                  <a:pt x="1945271" y="385572"/>
                </a:cubicBezTo>
                <a:cubicBezTo>
                  <a:pt x="1923146" y="385572"/>
                  <a:pt x="1912765" y="370809"/>
                  <a:pt x="1912765" y="346366"/>
                </a:cubicBezTo>
                <a:lnTo>
                  <a:pt x="1912765" y="301123"/>
                </a:lnTo>
                <a:cubicBezTo>
                  <a:pt x="1912765" y="276680"/>
                  <a:pt x="1923146" y="261917"/>
                  <a:pt x="1945271" y="261917"/>
                </a:cubicBezTo>
                <a:cubicBezTo>
                  <a:pt x="1965370" y="261917"/>
                  <a:pt x="1974427" y="272648"/>
                  <a:pt x="1974427" y="296098"/>
                </a:cubicBezTo>
                <a:lnTo>
                  <a:pt x="1974427" y="351391"/>
                </a:lnTo>
                <a:close/>
                <a:moveTo>
                  <a:pt x="2003232" y="350729"/>
                </a:moveTo>
                <a:lnTo>
                  <a:pt x="2003232" y="296780"/>
                </a:lnTo>
                <a:cubicBezTo>
                  <a:pt x="2003232" y="259249"/>
                  <a:pt x="1984146" y="239149"/>
                  <a:pt x="1951640" y="239149"/>
                </a:cubicBezTo>
                <a:cubicBezTo>
                  <a:pt x="1932865" y="239149"/>
                  <a:pt x="1919134" y="247193"/>
                  <a:pt x="1911110" y="262599"/>
                </a:cubicBezTo>
                <a:lnTo>
                  <a:pt x="1911110" y="242499"/>
                </a:lnTo>
                <a:lnTo>
                  <a:pt x="1883960" y="242499"/>
                </a:lnTo>
                <a:lnTo>
                  <a:pt x="1883960" y="466983"/>
                </a:lnTo>
                <a:lnTo>
                  <a:pt x="1912785" y="466983"/>
                </a:lnTo>
                <a:lnTo>
                  <a:pt x="1912785" y="387909"/>
                </a:lnTo>
                <a:cubicBezTo>
                  <a:pt x="1920828" y="401309"/>
                  <a:pt x="1934228" y="408359"/>
                  <a:pt x="1951640" y="408359"/>
                </a:cubicBezTo>
                <a:cubicBezTo>
                  <a:pt x="1984146" y="408359"/>
                  <a:pt x="2003232" y="388260"/>
                  <a:pt x="2003232" y="350729"/>
                </a:cubicBezTo>
                <a:close/>
                <a:moveTo>
                  <a:pt x="2090350" y="385923"/>
                </a:moveTo>
                <a:cubicBezTo>
                  <a:pt x="2072938" y="385923"/>
                  <a:pt x="2064213" y="376866"/>
                  <a:pt x="2064213" y="358773"/>
                </a:cubicBezTo>
                <a:lnTo>
                  <a:pt x="2064213" y="353748"/>
                </a:lnTo>
                <a:cubicBezTo>
                  <a:pt x="2064213" y="334661"/>
                  <a:pt x="2075937" y="327279"/>
                  <a:pt x="2107762" y="327279"/>
                </a:cubicBezTo>
                <a:lnTo>
                  <a:pt x="2122856" y="327279"/>
                </a:lnTo>
                <a:lnTo>
                  <a:pt x="2122856" y="351410"/>
                </a:lnTo>
                <a:cubicBezTo>
                  <a:pt x="2122856" y="373847"/>
                  <a:pt x="2111462" y="385923"/>
                  <a:pt x="2090350" y="385923"/>
                </a:cubicBezTo>
                <a:close/>
                <a:moveTo>
                  <a:pt x="2084001" y="408359"/>
                </a:moveTo>
                <a:cubicBezTo>
                  <a:pt x="2103087" y="408359"/>
                  <a:pt x="2117169" y="400647"/>
                  <a:pt x="2124862" y="385903"/>
                </a:cubicBezTo>
                <a:lnTo>
                  <a:pt x="2124862" y="406665"/>
                </a:lnTo>
                <a:lnTo>
                  <a:pt x="2151661" y="406665"/>
                </a:lnTo>
                <a:lnTo>
                  <a:pt x="2151661" y="291735"/>
                </a:lnTo>
                <a:cubicBezTo>
                  <a:pt x="2151661" y="255879"/>
                  <a:pt x="2133237" y="239130"/>
                  <a:pt x="2094712" y="239130"/>
                </a:cubicBezTo>
                <a:cubicBezTo>
                  <a:pt x="2058175" y="239130"/>
                  <a:pt x="2040081" y="255217"/>
                  <a:pt x="2039439" y="288385"/>
                </a:cubicBezTo>
                <a:lnTo>
                  <a:pt x="2067251" y="288385"/>
                </a:lnTo>
                <a:cubicBezTo>
                  <a:pt x="2067601" y="270623"/>
                  <a:pt x="2076970" y="261235"/>
                  <a:pt x="2094732" y="261235"/>
                </a:cubicBezTo>
                <a:cubicBezTo>
                  <a:pt x="2113819" y="261235"/>
                  <a:pt x="2122875" y="270954"/>
                  <a:pt x="2122875" y="291735"/>
                </a:cubicBezTo>
                <a:lnTo>
                  <a:pt x="2122875" y="304473"/>
                </a:lnTo>
                <a:lnTo>
                  <a:pt x="2106106" y="304473"/>
                </a:lnTo>
                <a:cubicBezTo>
                  <a:pt x="2057863" y="304473"/>
                  <a:pt x="2035407" y="320541"/>
                  <a:pt x="2035407" y="355403"/>
                </a:cubicBezTo>
                <a:lnTo>
                  <a:pt x="2035407" y="360428"/>
                </a:lnTo>
                <a:cubicBezTo>
                  <a:pt x="2035407" y="389603"/>
                  <a:pt x="2054494" y="408359"/>
                  <a:pt x="2084001" y="408359"/>
                </a:cubicBezTo>
                <a:close/>
                <a:moveTo>
                  <a:pt x="2250503" y="410034"/>
                </a:moveTo>
                <a:cubicBezTo>
                  <a:pt x="2289709" y="410034"/>
                  <a:pt x="2307452" y="391610"/>
                  <a:pt x="2307452" y="350398"/>
                </a:cubicBezTo>
                <a:lnTo>
                  <a:pt x="2279640" y="350398"/>
                </a:lnTo>
                <a:cubicBezTo>
                  <a:pt x="2279640" y="376866"/>
                  <a:pt x="2270934" y="387247"/>
                  <a:pt x="2250484" y="387247"/>
                </a:cubicBezTo>
                <a:cubicBezTo>
                  <a:pt x="2229722" y="387247"/>
                  <a:pt x="2219984" y="375834"/>
                  <a:pt x="2219984" y="351391"/>
                </a:cubicBezTo>
                <a:lnTo>
                  <a:pt x="2219984" y="297773"/>
                </a:lnTo>
                <a:cubicBezTo>
                  <a:pt x="2219984" y="273330"/>
                  <a:pt x="2229703" y="261936"/>
                  <a:pt x="2250484" y="261936"/>
                </a:cubicBezTo>
                <a:cubicBezTo>
                  <a:pt x="2270934" y="261936"/>
                  <a:pt x="2279309" y="270973"/>
                  <a:pt x="2279640" y="296780"/>
                </a:cubicBezTo>
                <a:lnTo>
                  <a:pt x="2307452" y="296780"/>
                </a:lnTo>
                <a:cubicBezTo>
                  <a:pt x="2307121" y="256580"/>
                  <a:pt x="2290040" y="239149"/>
                  <a:pt x="2250503" y="239149"/>
                </a:cubicBezTo>
                <a:cubicBezTo>
                  <a:pt x="2211960" y="239149"/>
                  <a:pt x="2191198" y="260262"/>
                  <a:pt x="2191198" y="299448"/>
                </a:cubicBezTo>
                <a:lnTo>
                  <a:pt x="2191198" y="349716"/>
                </a:lnTo>
                <a:cubicBezTo>
                  <a:pt x="2191198" y="388941"/>
                  <a:pt x="2211979" y="410034"/>
                  <a:pt x="2250503" y="410034"/>
                </a:cubicBezTo>
                <a:close/>
                <a:moveTo>
                  <a:pt x="2398601" y="261605"/>
                </a:moveTo>
                <a:cubicBezTo>
                  <a:pt x="2419694" y="261605"/>
                  <a:pt x="2429763" y="272999"/>
                  <a:pt x="2429763" y="297461"/>
                </a:cubicBezTo>
                <a:lnTo>
                  <a:pt x="2429763" y="311192"/>
                </a:lnTo>
                <a:lnTo>
                  <a:pt x="2367458" y="311192"/>
                </a:lnTo>
                <a:lnTo>
                  <a:pt x="2367458" y="297461"/>
                </a:lnTo>
                <a:cubicBezTo>
                  <a:pt x="2367458" y="272979"/>
                  <a:pt x="2377489" y="261605"/>
                  <a:pt x="2398601" y="261605"/>
                </a:cubicBezTo>
                <a:close/>
                <a:moveTo>
                  <a:pt x="2338633" y="299448"/>
                </a:moveTo>
                <a:lnTo>
                  <a:pt x="2338633" y="349716"/>
                </a:lnTo>
                <a:cubicBezTo>
                  <a:pt x="2338633" y="388902"/>
                  <a:pt x="2359746" y="410015"/>
                  <a:pt x="2397939" y="410015"/>
                </a:cubicBezTo>
                <a:cubicBezTo>
                  <a:pt x="2437476" y="410015"/>
                  <a:pt x="2456251" y="392934"/>
                  <a:pt x="2457594" y="356747"/>
                </a:cubicBezTo>
                <a:lnTo>
                  <a:pt x="2429782" y="356747"/>
                </a:lnTo>
                <a:cubicBezTo>
                  <a:pt x="2428789" y="378521"/>
                  <a:pt x="2419071" y="387578"/>
                  <a:pt x="2397958" y="387578"/>
                </a:cubicBezTo>
                <a:cubicBezTo>
                  <a:pt x="2377508" y="387578"/>
                  <a:pt x="2367478" y="375853"/>
                  <a:pt x="2367478" y="351391"/>
                </a:cubicBezTo>
                <a:lnTo>
                  <a:pt x="2367478" y="334622"/>
                </a:lnTo>
                <a:lnTo>
                  <a:pt x="2458276" y="334622"/>
                </a:lnTo>
                <a:lnTo>
                  <a:pt x="2458276" y="298766"/>
                </a:lnTo>
                <a:cubicBezTo>
                  <a:pt x="2458276" y="259911"/>
                  <a:pt x="2437514" y="239130"/>
                  <a:pt x="2398640" y="239130"/>
                </a:cubicBezTo>
                <a:cubicBezTo>
                  <a:pt x="2359746" y="239149"/>
                  <a:pt x="2338633" y="260262"/>
                  <a:pt x="2338633" y="299448"/>
                </a:cubicBezTo>
                <a:close/>
                <a:moveTo>
                  <a:pt x="824820" y="410034"/>
                </a:moveTo>
                <a:cubicBezTo>
                  <a:pt x="848620" y="410034"/>
                  <a:pt x="870064" y="405009"/>
                  <a:pt x="889832" y="394628"/>
                </a:cubicBezTo>
                <a:lnTo>
                  <a:pt x="889832" y="275025"/>
                </a:lnTo>
                <a:lnTo>
                  <a:pt x="817789" y="275025"/>
                </a:lnTo>
                <a:lnTo>
                  <a:pt x="817789" y="300149"/>
                </a:lnTo>
                <a:lnTo>
                  <a:pt x="860676" y="300149"/>
                </a:lnTo>
                <a:lnTo>
                  <a:pt x="860676" y="377879"/>
                </a:lnTo>
                <a:cubicBezTo>
                  <a:pt x="850626" y="382241"/>
                  <a:pt x="837558" y="384910"/>
                  <a:pt x="825171" y="384910"/>
                </a:cubicBezTo>
                <a:cubicBezTo>
                  <a:pt x="788964" y="384910"/>
                  <a:pt x="775234" y="367498"/>
                  <a:pt x="775234" y="322274"/>
                </a:cubicBezTo>
                <a:lnTo>
                  <a:pt x="775234" y="241506"/>
                </a:lnTo>
                <a:cubicBezTo>
                  <a:pt x="775234" y="211688"/>
                  <a:pt x="792003" y="193925"/>
                  <a:pt x="820146" y="193925"/>
                </a:cubicBezTo>
                <a:cubicBezTo>
                  <a:pt x="847958" y="193925"/>
                  <a:pt x="861007" y="206994"/>
                  <a:pt x="861689" y="235137"/>
                </a:cubicBezTo>
                <a:lnTo>
                  <a:pt x="892189" y="235137"/>
                </a:lnTo>
                <a:cubicBezTo>
                  <a:pt x="891176" y="189894"/>
                  <a:pt x="868389" y="168801"/>
                  <a:pt x="820146" y="168801"/>
                </a:cubicBezTo>
                <a:cubicBezTo>
                  <a:pt x="772234" y="168801"/>
                  <a:pt x="745747" y="194938"/>
                  <a:pt x="745747" y="242519"/>
                </a:cubicBezTo>
                <a:lnTo>
                  <a:pt x="745747" y="320911"/>
                </a:lnTo>
                <a:cubicBezTo>
                  <a:pt x="745747" y="382884"/>
                  <a:pt x="769878" y="410034"/>
                  <a:pt x="824820" y="410034"/>
                </a:cubicBezTo>
                <a:close/>
                <a:moveTo>
                  <a:pt x="354371" y="214064"/>
                </a:moveTo>
                <a:cubicBezTo>
                  <a:pt x="354371" y="181188"/>
                  <a:pt x="376613" y="149227"/>
                  <a:pt x="388785" y="155304"/>
                </a:cubicBezTo>
                <a:cubicBezTo>
                  <a:pt x="402633" y="162218"/>
                  <a:pt x="378424" y="193205"/>
                  <a:pt x="354371" y="214064"/>
                </a:cubicBezTo>
                <a:moveTo>
                  <a:pt x="202826" y="226081"/>
                </a:moveTo>
                <a:cubicBezTo>
                  <a:pt x="202826" y="199632"/>
                  <a:pt x="228944" y="149325"/>
                  <a:pt x="244914" y="154622"/>
                </a:cubicBezTo>
                <a:cubicBezTo>
                  <a:pt x="263767" y="160913"/>
                  <a:pt x="229294" y="211629"/>
                  <a:pt x="202826" y="226081"/>
                </a:cubicBezTo>
                <a:close/>
                <a:moveTo>
                  <a:pt x="176377" y="415293"/>
                </a:moveTo>
                <a:cubicBezTo>
                  <a:pt x="164360" y="415838"/>
                  <a:pt x="156356" y="408145"/>
                  <a:pt x="156356" y="395329"/>
                </a:cubicBezTo>
                <a:cubicBezTo>
                  <a:pt x="156356" y="360857"/>
                  <a:pt x="204131" y="327961"/>
                  <a:pt x="240220" y="310296"/>
                </a:cubicBezTo>
                <a:cubicBezTo>
                  <a:pt x="233813" y="358403"/>
                  <a:pt x="217569" y="413404"/>
                  <a:pt x="176377" y="415293"/>
                </a:cubicBezTo>
                <a:close/>
                <a:moveTo>
                  <a:pt x="396849" y="303051"/>
                </a:moveTo>
                <a:cubicBezTo>
                  <a:pt x="369621" y="303051"/>
                  <a:pt x="348742" y="323112"/>
                  <a:pt x="348742" y="347145"/>
                </a:cubicBezTo>
                <a:cubicBezTo>
                  <a:pt x="348742" y="367206"/>
                  <a:pt x="360759" y="383215"/>
                  <a:pt x="376808" y="383215"/>
                </a:cubicBezTo>
                <a:cubicBezTo>
                  <a:pt x="382436" y="383215"/>
                  <a:pt x="388006" y="380021"/>
                  <a:pt x="388006" y="372795"/>
                </a:cubicBezTo>
                <a:cubicBezTo>
                  <a:pt x="388006" y="362376"/>
                  <a:pt x="374198" y="359844"/>
                  <a:pt x="375269" y="344243"/>
                </a:cubicBezTo>
                <a:cubicBezTo>
                  <a:pt x="375951" y="333960"/>
                  <a:pt x="385630" y="327085"/>
                  <a:pt x="395232" y="327085"/>
                </a:cubicBezTo>
                <a:cubicBezTo>
                  <a:pt x="414475" y="327085"/>
                  <a:pt x="423473" y="345723"/>
                  <a:pt x="423473" y="364966"/>
                </a:cubicBezTo>
                <a:cubicBezTo>
                  <a:pt x="422655" y="394628"/>
                  <a:pt x="400841" y="415273"/>
                  <a:pt x="375191" y="415273"/>
                </a:cubicBezTo>
                <a:cubicBezTo>
                  <a:pt x="341517" y="415273"/>
                  <a:pt x="319898" y="383196"/>
                  <a:pt x="319898" y="348703"/>
                </a:cubicBezTo>
                <a:cubicBezTo>
                  <a:pt x="319898" y="297403"/>
                  <a:pt x="353553" y="277362"/>
                  <a:pt x="371179" y="272551"/>
                </a:cubicBezTo>
                <a:cubicBezTo>
                  <a:pt x="371354" y="272532"/>
                  <a:pt x="417299" y="280751"/>
                  <a:pt x="415857" y="260495"/>
                </a:cubicBezTo>
                <a:cubicBezTo>
                  <a:pt x="415234" y="251614"/>
                  <a:pt x="401990" y="248206"/>
                  <a:pt x="392389" y="247797"/>
                </a:cubicBezTo>
                <a:cubicBezTo>
                  <a:pt x="381735" y="247368"/>
                  <a:pt x="371043" y="251205"/>
                  <a:pt x="371043" y="251205"/>
                </a:cubicBezTo>
                <a:cubicBezTo>
                  <a:pt x="365433" y="248381"/>
                  <a:pt x="361558" y="242869"/>
                  <a:pt x="359182" y="236481"/>
                </a:cubicBezTo>
                <a:cubicBezTo>
                  <a:pt x="392038" y="211610"/>
                  <a:pt x="415293" y="187576"/>
                  <a:pt x="415293" y="160309"/>
                </a:cubicBezTo>
                <a:cubicBezTo>
                  <a:pt x="415293" y="145877"/>
                  <a:pt x="405671" y="133042"/>
                  <a:pt x="387227" y="133042"/>
                </a:cubicBezTo>
                <a:cubicBezTo>
                  <a:pt x="354371" y="133042"/>
                  <a:pt x="329500" y="174722"/>
                  <a:pt x="329500" y="212408"/>
                </a:cubicBezTo>
                <a:cubicBezTo>
                  <a:pt x="329500" y="218816"/>
                  <a:pt x="329500" y="225243"/>
                  <a:pt x="331116" y="230852"/>
                </a:cubicBezTo>
                <a:cubicBezTo>
                  <a:pt x="310277" y="246083"/>
                  <a:pt x="294773" y="255529"/>
                  <a:pt x="266708" y="272376"/>
                </a:cubicBezTo>
                <a:cubicBezTo>
                  <a:pt x="266708" y="268851"/>
                  <a:pt x="267448" y="259833"/>
                  <a:pt x="269805" y="248069"/>
                </a:cubicBezTo>
                <a:cubicBezTo>
                  <a:pt x="279426" y="237650"/>
                  <a:pt x="292631" y="222049"/>
                  <a:pt x="292631" y="210013"/>
                </a:cubicBezTo>
                <a:cubicBezTo>
                  <a:pt x="292631" y="204404"/>
                  <a:pt x="289437" y="199593"/>
                  <a:pt x="283010" y="199593"/>
                </a:cubicBezTo>
                <a:cubicBezTo>
                  <a:pt x="266981" y="199593"/>
                  <a:pt x="254964" y="223627"/>
                  <a:pt x="251750" y="240474"/>
                </a:cubicBezTo>
                <a:cubicBezTo>
                  <a:pt x="244525" y="249296"/>
                  <a:pt x="230112" y="260534"/>
                  <a:pt x="218076" y="260534"/>
                </a:cubicBezTo>
                <a:cubicBezTo>
                  <a:pt x="208455" y="260534"/>
                  <a:pt x="205260" y="251692"/>
                  <a:pt x="204442" y="248498"/>
                </a:cubicBezTo>
                <a:cubicBezTo>
                  <a:pt x="234923" y="238059"/>
                  <a:pt x="272590" y="196379"/>
                  <a:pt x="272590" y="158693"/>
                </a:cubicBezTo>
                <a:cubicBezTo>
                  <a:pt x="272590" y="150669"/>
                  <a:pt x="269376" y="133023"/>
                  <a:pt x="245343" y="133023"/>
                </a:cubicBezTo>
                <a:cubicBezTo>
                  <a:pt x="209253" y="133023"/>
                  <a:pt x="178792" y="186739"/>
                  <a:pt x="178792" y="228437"/>
                </a:cubicBezTo>
                <a:cubicBezTo>
                  <a:pt x="165957" y="228437"/>
                  <a:pt x="161166" y="214804"/>
                  <a:pt x="161166" y="204384"/>
                </a:cubicBezTo>
                <a:cubicBezTo>
                  <a:pt x="161166" y="193945"/>
                  <a:pt x="165178" y="183525"/>
                  <a:pt x="165178" y="180331"/>
                </a:cubicBezTo>
                <a:cubicBezTo>
                  <a:pt x="165178" y="177117"/>
                  <a:pt x="163562" y="173105"/>
                  <a:pt x="158751" y="173105"/>
                </a:cubicBezTo>
                <a:cubicBezTo>
                  <a:pt x="146715" y="173105"/>
                  <a:pt x="139509" y="189134"/>
                  <a:pt x="139509" y="207578"/>
                </a:cubicBezTo>
                <a:cubicBezTo>
                  <a:pt x="140327" y="233228"/>
                  <a:pt x="157154" y="249277"/>
                  <a:pt x="179610" y="250874"/>
                </a:cubicBezTo>
                <a:cubicBezTo>
                  <a:pt x="182824" y="266104"/>
                  <a:pt x="196457" y="280536"/>
                  <a:pt x="213285" y="280536"/>
                </a:cubicBezTo>
                <a:cubicBezTo>
                  <a:pt x="223724" y="280536"/>
                  <a:pt x="236539" y="277342"/>
                  <a:pt x="245362" y="269318"/>
                </a:cubicBezTo>
                <a:cubicBezTo>
                  <a:pt x="244544" y="274947"/>
                  <a:pt x="243765" y="279738"/>
                  <a:pt x="242947" y="284548"/>
                </a:cubicBezTo>
                <a:cubicBezTo>
                  <a:pt x="207676" y="302992"/>
                  <a:pt x="182025" y="315827"/>
                  <a:pt x="158771" y="336647"/>
                </a:cubicBezTo>
                <a:cubicBezTo>
                  <a:pt x="140346" y="353494"/>
                  <a:pt x="129907" y="375931"/>
                  <a:pt x="129907" y="393596"/>
                </a:cubicBezTo>
                <a:cubicBezTo>
                  <a:pt x="129907" y="417649"/>
                  <a:pt x="145137" y="440067"/>
                  <a:pt x="176397" y="440067"/>
                </a:cubicBezTo>
                <a:cubicBezTo>
                  <a:pt x="213285" y="440067"/>
                  <a:pt x="241331" y="410424"/>
                  <a:pt x="254964" y="369523"/>
                </a:cubicBezTo>
                <a:cubicBezTo>
                  <a:pt x="261391" y="350281"/>
                  <a:pt x="263962" y="322293"/>
                  <a:pt x="265559" y="296624"/>
                </a:cubicBezTo>
                <a:cubicBezTo>
                  <a:pt x="302447" y="275784"/>
                  <a:pt x="319937" y="263709"/>
                  <a:pt x="339140" y="250075"/>
                </a:cubicBezTo>
                <a:cubicBezTo>
                  <a:pt x="341555" y="254088"/>
                  <a:pt x="343990" y="257301"/>
                  <a:pt x="347165" y="259697"/>
                </a:cubicBezTo>
                <a:cubicBezTo>
                  <a:pt x="330337" y="268519"/>
                  <a:pt x="290255" y="293371"/>
                  <a:pt x="290255" y="351878"/>
                </a:cubicBezTo>
                <a:cubicBezTo>
                  <a:pt x="290255" y="393577"/>
                  <a:pt x="318320" y="440067"/>
                  <a:pt x="373633" y="440067"/>
                </a:cubicBezTo>
                <a:cubicBezTo>
                  <a:pt x="419324" y="440067"/>
                  <a:pt x="450603" y="402419"/>
                  <a:pt x="450603" y="366329"/>
                </a:cubicBezTo>
                <a:cubicBezTo>
                  <a:pt x="450584" y="333512"/>
                  <a:pt x="432140" y="303051"/>
                  <a:pt x="396849" y="303051"/>
                </a:cubicBezTo>
                <a:close/>
                <a:moveTo>
                  <a:pt x="534682" y="371900"/>
                </a:moveTo>
                <a:cubicBezTo>
                  <a:pt x="534546" y="372153"/>
                  <a:pt x="534078" y="372523"/>
                  <a:pt x="533202" y="372211"/>
                </a:cubicBezTo>
                <a:cubicBezTo>
                  <a:pt x="532520" y="371958"/>
                  <a:pt x="532306" y="371607"/>
                  <a:pt x="532326" y="371179"/>
                </a:cubicBezTo>
                <a:cubicBezTo>
                  <a:pt x="532365" y="370712"/>
                  <a:pt x="542025" y="342198"/>
                  <a:pt x="541966" y="309459"/>
                </a:cubicBezTo>
                <a:cubicBezTo>
                  <a:pt x="541849" y="274168"/>
                  <a:pt x="527515" y="252529"/>
                  <a:pt x="509110" y="252529"/>
                </a:cubicBezTo>
                <a:cubicBezTo>
                  <a:pt x="497872" y="252529"/>
                  <a:pt x="489867" y="260554"/>
                  <a:pt x="489867" y="272571"/>
                </a:cubicBezTo>
                <a:cubicBezTo>
                  <a:pt x="489867" y="294228"/>
                  <a:pt x="516316" y="295825"/>
                  <a:pt x="516316" y="343133"/>
                </a:cubicBezTo>
                <a:cubicBezTo>
                  <a:pt x="516316" y="362376"/>
                  <a:pt x="512304" y="380781"/>
                  <a:pt x="505896" y="400861"/>
                </a:cubicBezTo>
                <a:cubicBezTo>
                  <a:pt x="476234" y="501066"/>
                  <a:pt x="381618" y="547556"/>
                  <a:pt x="289437" y="547556"/>
                </a:cubicBezTo>
                <a:cubicBezTo>
                  <a:pt x="246940" y="547556"/>
                  <a:pt x="216732" y="538831"/>
                  <a:pt x="207734" y="534799"/>
                </a:cubicBezTo>
                <a:cubicBezTo>
                  <a:pt x="207364" y="534624"/>
                  <a:pt x="207072" y="533903"/>
                  <a:pt x="207344" y="533202"/>
                </a:cubicBezTo>
                <a:cubicBezTo>
                  <a:pt x="207559" y="532637"/>
                  <a:pt x="208182" y="532228"/>
                  <a:pt x="208513" y="532384"/>
                </a:cubicBezTo>
                <a:cubicBezTo>
                  <a:pt x="212175" y="533825"/>
                  <a:pt x="238097" y="541966"/>
                  <a:pt x="270155" y="541966"/>
                </a:cubicBezTo>
                <a:cubicBezTo>
                  <a:pt x="305427" y="541966"/>
                  <a:pt x="326286" y="527554"/>
                  <a:pt x="326286" y="509869"/>
                </a:cubicBezTo>
                <a:cubicBezTo>
                  <a:pt x="326286" y="498671"/>
                  <a:pt x="317463" y="489848"/>
                  <a:pt x="306225" y="489848"/>
                </a:cubicBezTo>
                <a:cubicBezTo>
                  <a:pt x="284587" y="489848"/>
                  <a:pt x="282971" y="517095"/>
                  <a:pt x="236481" y="517095"/>
                </a:cubicBezTo>
                <a:cubicBezTo>
                  <a:pt x="216440" y="517095"/>
                  <a:pt x="198814" y="513103"/>
                  <a:pt x="177955" y="506675"/>
                </a:cubicBezTo>
                <a:cubicBezTo>
                  <a:pt x="78548" y="476215"/>
                  <a:pt x="31162" y="382397"/>
                  <a:pt x="31240" y="289398"/>
                </a:cubicBezTo>
                <a:cubicBezTo>
                  <a:pt x="31279" y="244116"/>
                  <a:pt x="43958" y="208046"/>
                  <a:pt x="44172" y="207695"/>
                </a:cubicBezTo>
                <a:cubicBezTo>
                  <a:pt x="44328" y="207461"/>
                  <a:pt x="44893" y="207208"/>
                  <a:pt x="45594" y="207461"/>
                </a:cubicBezTo>
                <a:cubicBezTo>
                  <a:pt x="46315" y="207695"/>
                  <a:pt x="46509" y="208318"/>
                  <a:pt x="46431" y="208494"/>
                </a:cubicBezTo>
                <a:cubicBezTo>
                  <a:pt x="45263" y="212253"/>
                  <a:pt x="36849" y="238098"/>
                  <a:pt x="36849" y="270156"/>
                </a:cubicBezTo>
                <a:cubicBezTo>
                  <a:pt x="36849" y="305447"/>
                  <a:pt x="51281" y="326286"/>
                  <a:pt x="69706" y="326286"/>
                </a:cubicBezTo>
                <a:cubicBezTo>
                  <a:pt x="80125" y="326286"/>
                  <a:pt x="88948" y="318262"/>
                  <a:pt x="88948" y="307063"/>
                </a:cubicBezTo>
                <a:cubicBezTo>
                  <a:pt x="88948" y="285405"/>
                  <a:pt x="62499" y="283010"/>
                  <a:pt x="62499" y="236500"/>
                </a:cubicBezTo>
                <a:cubicBezTo>
                  <a:pt x="62499" y="216440"/>
                  <a:pt x="66511" y="198814"/>
                  <a:pt x="72919" y="177974"/>
                </a:cubicBezTo>
                <a:cubicBezTo>
                  <a:pt x="103380" y="78567"/>
                  <a:pt x="197178" y="31961"/>
                  <a:pt x="289398" y="31259"/>
                </a:cubicBezTo>
                <a:cubicBezTo>
                  <a:pt x="332246" y="30928"/>
                  <a:pt x="369757" y="43744"/>
                  <a:pt x="371159" y="44873"/>
                </a:cubicBezTo>
                <a:cubicBezTo>
                  <a:pt x="371393" y="45088"/>
                  <a:pt x="371685" y="45652"/>
                  <a:pt x="371393" y="46315"/>
                </a:cubicBezTo>
                <a:cubicBezTo>
                  <a:pt x="371101" y="47055"/>
                  <a:pt x="370595" y="47152"/>
                  <a:pt x="370341" y="47113"/>
                </a:cubicBezTo>
                <a:cubicBezTo>
                  <a:pt x="369893" y="47055"/>
                  <a:pt x="345509" y="36869"/>
                  <a:pt x="308602" y="36869"/>
                </a:cubicBezTo>
                <a:cubicBezTo>
                  <a:pt x="274148" y="36849"/>
                  <a:pt x="252510" y="51281"/>
                  <a:pt x="252510" y="69745"/>
                </a:cubicBezTo>
                <a:cubicBezTo>
                  <a:pt x="252510" y="80164"/>
                  <a:pt x="260515" y="88968"/>
                  <a:pt x="272532" y="88968"/>
                </a:cubicBezTo>
                <a:cubicBezTo>
                  <a:pt x="294189" y="88968"/>
                  <a:pt x="295806" y="62519"/>
                  <a:pt x="342276" y="62519"/>
                </a:cubicBezTo>
                <a:cubicBezTo>
                  <a:pt x="362337" y="62519"/>
                  <a:pt x="379943" y="66531"/>
                  <a:pt x="400802" y="72939"/>
                </a:cubicBezTo>
                <a:cubicBezTo>
                  <a:pt x="501047" y="103400"/>
                  <a:pt x="546660" y="198015"/>
                  <a:pt x="547517" y="289398"/>
                </a:cubicBezTo>
                <a:cubicBezTo>
                  <a:pt x="548004" y="336239"/>
                  <a:pt x="534819" y="371666"/>
                  <a:pt x="534682" y="371900"/>
                </a:cubicBezTo>
                <a:close/>
                <a:moveTo>
                  <a:pt x="289437" y="13614"/>
                </a:moveTo>
                <a:cubicBezTo>
                  <a:pt x="137113" y="13614"/>
                  <a:pt x="13614" y="137094"/>
                  <a:pt x="13614" y="289398"/>
                </a:cubicBezTo>
                <a:cubicBezTo>
                  <a:pt x="13614" y="441741"/>
                  <a:pt x="137093" y="565182"/>
                  <a:pt x="289437" y="565182"/>
                </a:cubicBezTo>
                <a:cubicBezTo>
                  <a:pt x="441761" y="565182"/>
                  <a:pt x="565202" y="441741"/>
                  <a:pt x="565202" y="289398"/>
                </a:cubicBezTo>
                <a:cubicBezTo>
                  <a:pt x="565202" y="137892"/>
                  <a:pt x="441761" y="13614"/>
                  <a:pt x="289437" y="13614"/>
                </a:cubicBezTo>
                <a:close/>
                <a:moveTo>
                  <a:pt x="289437" y="578835"/>
                </a:moveTo>
                <a:cubicBezTo>
                  <a:pt x="129887" y="578835"/>
                  <a:pt x="0" y="449766"/>
                  <a:pt x="0" y="289417"/>
                </a:cubicBezTo>
                <a:cubicBezTo>
                  <a:pt x="0" y="129887"/>
                  <a:pt x="129868" y="0"/>
                  <a:pt x="289437" y="0"/>
                </a:cubicBezTo>
                <a:cubicBezTo>
                  <a:pt x="448928" y="0"/>
                  <a:pt x="578854" y="129868"/>
                  <a:pt x="578854" y="289417"/>
                </a:cubicBezTo>
                <a:cubicBezTo>
                  <a:pt x="578854" y="449766"/>
                  <a:pt x="448948" y="578835"/>
                  <a:pt x="289437" y="578835"/>
                </a:cubicBezTo>
                <a:close/>
              </a:path>
            </a:pathLst>
          </a:custGeom>
          <a:solidFill>
            <a:srgbClr val="FFFFFF"/>
          </a:solidFill>
          <a:ln w="194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02D6C69-7B69-F3E5-E527-4DF5D8E819C8}"/>
              </a:ext>
            </a:extLst>
          </p:cNvPr>
          <p:cNvSpPr/>
          <p:nvPr/>
        </p:nvSpPr>
        <p:spPr>
          <a:xfrm>
            <a:off x="134224" y="8626087"/>
            <a:ext cx="1166070" cy="4865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>
              <a:spcAft>
                <a:spcPts val="600"/>
              </a:spcAft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D32A2BD-0F79-1400-6EB6-25294B001877}"/>
              </a:ext>
            </a:extLst>
          </p:cNvPr>
          <p:cNvSpPr/>
          <p:nvPr/>
        </p:nvSpPr>
        <p:spPr>
          <a:xfrm>
            <a:off x="757381" y="2235288"/>
            <a:ext cx="2270420" cy="3173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spcAft>
                <a:spcPts val="800"/>
              </a:spcAft>
            </a:pPr>
            <a:r>
              <a:rPr lang="en-US" sz="1200" dirty="0">
                <a:solidFill>
                  <a:schemeClr val="tx1"/>
                </a:solidFill>
                <a:cs typeface="Arial" panose="020B0604020202020204" pitchFamily="34" charset="0"/>
              </a:rPr>
              <a:t>Go to:  hrcentral.geaerospace.com</a:t>
            </a:r>
            <a:endParaRPr lang="sv-SE" sz="12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16" name="Graphic 15" descr="Badge 3 with solid fill">
            <a:extLst>
              <a:ext uri="{FF2B5EF4-FFF2-40B4-BE49-F238E27FC236}">
                <a16:creationId xmlns:a16="http://schemas.microsoft.com/office/drawing/2014/main" id="{ABD3CED7-C0D2-C708-CD7B-8C43E3AE19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216" y="3625130"/>
            <a:ext cx="747813" cy="747813"/>
          </a:xfrm>
          <a:prstGeom prst="rect">
            <a:avLst/>
          </a:prstGeom>
        </p:spPr>
      </p:pic>
      <p:pic>
        <p:nvPicPr>
          <p:cNvPr id="17" name="Graphic 16" descr="Badge with solid fill">
            <a:extLst>
              <a:ext uri="{FF2B5EF4-FFF2-40B4-BE49-F238E27FC236}">
                <a16:creationId xmlns:a16="http://schemas.microsoft.com/office/drawing/2014/main" id="{9BBE7EEB-6C73-0828-BD18-0A1C57DF23C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282" y="2890305"/>
            <a:ext cx="747813" cy="747813"/>
          </a:xfrm>
          <a:prstGeom prst="rect">
            <a:avLst/>
          </a:prstGeom>
        </p:spPr>
      </p:pic>
      <p:pic>
        <p:nvPicPr>
          <p:cNvPr id="18" name="Graphic 17" descr="Badge 1 with solid fill">
            <a:extLst>
              <a:ext uri="{FF2B5EF4-FFF2-40B4-BE49-F238E27FC236}">
                <a16:creationId xmlns:a16="http://schemas.microsoft.com/office/drawing/2014/main" id="{B3E23D3E-FAA4-1CC7-C2FF-7BE59824DB9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0664" y="2102597"/>
            <a:ext cx="747813" cy="747813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81720069-9351-CF96-16C5-9ECED72660FE}"/>
              </a:ext>
            </a:extLst>
          </p:cNvPr>
          <p:cNvSpPr/>
          <p:nvPr/>
        </p:nvSpPr>
        <p:spPr>
          <a:xfrm>
            <a:off x="757381" y="2890305"/>
            <a:ext cx="2270420" cy="5388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spcAft>
                <a:spcPts val="800"/>
              </a:spcAft>
            </a:pPr>
            <a:r>
              <a:rPr lang="en-US" sz="1200" dirty="0">
                <a:solidFill>
                  <a:schemeClr val="tx1"/>
                </a:solidFill>
                <a:cs typeface="Arial" panose="020B0604020202020204" pitchFamily="34" charset="0"/>
              </a:rPr>
              <a:t>To see high-level details (gross and net) of latest pay: Click:  Pay &gt; Pay Summary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4FCEEF8-FED8-62C5-1A4F-9CE163354271}"/>
              </a:ext>
            </a:extLst>
          </p:cNvPr>
          <p:cNvSpPr/>
          <p:nvPr/>
        </p:nvSpPr>
        <p:spPr>
          <a:xfrm>
            <a:off x="754214" y="3678013"/>
            <a:ext cx="2273587" cy="670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spcAft>
                <a:spcPts val="800"/>
              </a:spcAft>
            </a:pPr>
            <a:r>
              <a:rPr lang="en-US" sz="1200" dirty="0">
                <a:solidFill>
                  <a:schemeClr val="tx1"/>
                </a:solidFill>
                <a:cs typeface="Arial" panose="020B0604020202020204" pitchFamily="34" charset="0"/>
              </a:rPr>
              <a:t>To see full details:  Click:     View my Payslips                      </a:t>
            </a:r>
            <a:r>
              <a:rPr lang="en-US" sz="1200" i="1" dirty="0">
                <a:solidFill>
                  <a:schemeClr val="tx1"/>
                </a:solidFill>
                <a:cs typeface="Arial" panose="020B0604020202020204" pitchFamily="34" charset="0"/>
              </a:rPr>
              <a:t>(takes you to Workday)</a:t>
            </a:r>
            <a:endParaRPr lang="en-US" sz="1200" i="1" dirty="0">
              <a:solidFill>
                <a:schemeClr val="tx1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6E94E7E-F217-A69B-DF38-B49DB1F93669}"/>
              </a:ext>
            </a:extLst>
          </p:cNvPr>
          <p:cNvGrpSpPr/>
          <p:nvPr/>
        </p:nvGrpSpPr>
        <p:grpSpPr>
          <a:xfrm>
            <a:off x="2883592" y="2248555"/>
            <a:ext cx="3822134" cy="1858052"/>
            <a:chOff x="-1154" y="2042669"/>
            <a:chExt cx="3822134" cy="1858052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FC579EC5-7838-BF3F-EEE3-563EB273239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84151" y="2042669"/>
              <a:ext cx="3636829" cy="1858052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4EA63C90-2647-C51A-930A-B311CC357512}"/>
                </a:ext>
              </a:extLst>
            </p:cNvPr>
            <p:cNvSpPr/>
            <p:nvPr/>
          </p:nvSpPr>
          <p:spPr>
            <a:xfrm>
              <a:off x="1723506" y="2480834"/>
              <a:ext cx="343832" cy="328884"/>
            </a:xfrm>
            <a:prstGeom prst="ellipse">
              <a:avLst/>
            </a:prstGeom>
            <a:solidFill>
              <a:srgbClr val="00003C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spcAft>
                  <a:spcPts val="800"/>
                </a:spcAft>
              </a:pPr>
              <a:r>
                <a:rPr lang="en-US" sz="12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6F49F20-9B80-8730-6548-2218ADBA48B9}"/>
                </a:ext>
              </a:extLst>
            </p:cNvPr>
            <p:cNvSpPr/>
            <p:nvPr/>
          </p:nvSpPr>
          <p:spPr>
            <a:xfrm>
              <a:off x="289912" y="2241085"/>
              <a:ext cx="343832" cy="328884"/>
            </a:xfrm>
            <a:prstGeom prst="ellipse">
              <a:avLst/>
            </a:prstGeom>
            <a:solidFill>
              <a:srgbClr val="00003C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spcAft>
                  <a:spcPts val="800"/>
                </a:spcAft>
              </a:pPr>
              <a:r>
                <a:rPr lang="en-US" sz="12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7AF83827-79AC-AB8A-8C1A-A7B326FCA3D6}"/>
                </a:ext>
              </a:extLst>
            </p:cNvPr>
            <p:cNvSpPr/>
            <p:nvPr/>
          </p:nvSpPr>
          <p:spPr>
            <a:xfrm>
              <a:off x="-1154" y="3063718"/>
              <a:ext cx="343832" cy="328884"/>
            </a:xfrm>
            <a:prstGeom prst="ellipse">
              <a:avLst/>
            </a:prstGeom>
            <a:solidFill>
              <a:srgbClr val="00003C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spcAft>
                  <a:spcPts val="800"/>
                </a:spcAft>
              </a:pPr>
              <a:r>
                <a:rPr lang="en-US" sz="1200" b="1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511A4157-C00D-976A-9749-F7A0304A8F5A}"/>
              </a:ext>
            </a:extLst>
          </p:cNvPr>
          <p:cNvSpPr/>
          <p:nvPr/>
        </p:nvSpPr>
        <p:spPr>
          <a:xfrm>
            <a:off x="4296311" y="7133174"/>
            <a:ext cx="2509767" cy="17132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>
              <a:spcAft>
                <a:spcPts val="600"/>
              </a:spcAft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914C348-05F1-523D-7A6D-D92AEE0ACFD3}"/>
              </a:ext>
            </a:extLst>
          </p:cNvPr>
          <p:cNvSpPr/>
          <p:nvPr/>
        </p:nvSpPr>
        <p:spPr>
          <a:xfrm>
            <a:off x="4309988" y="7264508"/>
            <a:ext cx="2480569" cy="472908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Aft>
                <a:spcPts val="800"/>
              </a:spcAft>
            </a:pPr>
            <a:r>
              <a:rPr lang="en-US" sz="1400" b="1" dirty="0">
                <a:solidFill>
                  <a:schemeClr val="accent1"/>
                </a:solidFill>
              </a:rPr>
              <a:t>Do you have a question or a pay issue?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45C3C95-6A4E-2257-4365-DEBF6E07171D}"/>
              </a:ext>
            </a:extLst>
          </p:cNvPr>
          <p:cNvSpPr/>
          <p:nvPr/>
        </p:nvSpPr>
        <p:spPr>
          <a:xfrm>
            <a:off x="4296312" y="7880435"/>
            <a:ext cx="2489238" cy="881135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Aft>
                <a:spcPts val="800"/>
              </a:spcAft>
            </a:pPr>
            <a:r>
              <a:rPr lang="en-US" sz="1200" dirty="0">
                <a:solidFill>
                  <a:schemeClr val="accent1"/>
                </a:solidFill>
              </a:rPr>
              <a:t>Go to </a:t>
            </a:r>
            <a:r>
              <a:rPr lang="en-US" sz="1200" b="1" dirty="0">
                <a:solidFill>
                  <a:schemeClr val="accent1"/>
                </a:solidFill>
              </a:rPr>
              <a:t>HR Central </a:t>
            </a:r>
            <a:r>
              <a:rPr lang="en-US" sz="1200" dirty="0">
                <a:solidFill>
                  <a:schemeClr val="accent1"/>
                </a:solidFill>
              </a:rPr>
              <a:t>and click </a:t>
            </a:r>
            <a:r>
              <a:rPr lang="en-US" sz="1200" b="1" dirty="0">
                <a:solidFill>
                  <a:schemeClr val="accent1"/>
                </a:solidFill>
              </a:rPr>
              <a:t>Contact Us</a:t>
            </a:r>
            <a:r>
              <a:rPr lang="en-US" sz="1200" dirty="0">
                <a:solidFill>
                  <a:schemeClr val="accent1"/>
                </a:solidFill>
              </a:rPr>
              <a:t> to live chat or submit a request.                                                                  Or contact HR Services at:              </a:t>
            </a:r>
            <a:r>
              <a:rPr lang="en-US" sz="1200" b="1" dirty="0">
                <a:solidFill>
                  <a:schemeClr val="accent1"/>
                </a:solidFill>
              </a:rPr>
              <a:t>1-844-477-2200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0A804EE-2532-3286-7559-821F6A7A1CD4}"/>
              </a:ext>
            </a:extLst>
          </p:cNvPr>
          <p:cNvSpPr/>
          <p:nvPr/>
        </p:nvSpPr>
        <p:spPr>
          <a:xfrm>
            <a:off x="829798" y="6998861"/>
            <a:ext cx="2356529" cy="4071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spcAft>
                <a:spcPts val="800"/>
              </a:spcAft>
            </a:pPr>
            <a:r>
              <a:rPr lang="en-US" sz="1200" dirty="0">
                <a:solidFill>
                  <a:schemeClr val="tx1"/>
                </a:solidFill>
                <a:cs typeface="Arial" panose="020B0604020202020204" pitchFamily="34" charset="0"/>
              </a:rPr>
              <a:t>To view the PDF, click “Print” (even if you don’t want to print)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E489CDC-FE74-7A5D-5B24-6B52FE6C44C5}"/>
              </a:ext>
            </a:extLst>
          </p:cNvPr>
          <p:cNvSpPr/>
          <p:nvPr/>
        </p:nvSpPr>
        <p:spPr>
          <a:xfrm>
            <a:off x="844166" y="7851165"/>
            <a:ext cx="1843192" cy="3782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spcAft>
                <a:spcPts val="800"/>
              </a:spcAft>
            </a:pPr>
            <a:r>
              <a:rPr lang="en-US" sz="1200" dirty="0">
                <a:solidFill>
                  <a:schemeClr val="tx1"/>
                </a:solidFill>
                <a:cs typeface="Arial" panose="020B0604020202020204" pitchFamily="34" charset="0"/>
              </a:rPr>
              <a:t>Click “Notify me Later”</a:t>
            </a:r>
            <a:endParaRPr lang="sv-SE" sz="120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spcAft>
                <a:spcPts val="800"/>
              </a:spcAft>
            </a:pPr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3F6E40E5-A99E-FA6D-7B5B-F0AE5923C43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04451" y="6986092"/>
            <a:ext cx="1090815" cy="44828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BAEFB00F-9AC3-AB00-AB95-3B8C5ED98950}"/>
              </a:ext>
            </a:extLst>
          </p:cNvPr>
          <p:cNvSpPr/>
          <p:nvPr/>
        </p:nvSpPr>
        <p:spPr>
          <a:xfrm>
            <a:off x="829799" y="8540573"/>
            <a:ext cx="2284860" cy="4071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spcAft>
                <a:spcPts val="800"/>
              </a:spcAft>
            </a:pPr>
            <a:r>
              <a:rPr lang="en-US" sz="1200" dirty="0">
                <a:solidFill>
                  <a:schemeClr val="tx1"/>
                </a:solidFill>
                <a:cs typeface="Arial" panose="020B0604020202020204" pitchFamily="34" charset="0"/>
              </a:rPr>
              <a:t>Find the pay slip at the notification bell</a:t>
            </a:r>
            <a:endParaRPr lang="sv-SE" sz="120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spcAft>
                <a:spcPts val="800"/>
              </a:spcAft>
            </a:pPr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AFAF4C59-B458-AB58-5AB1-2E4EB7D831D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45150" y="8494738"/>
            <a:ext cx="546679" cy="533663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31CEC787-E699-5D4A-58AF-4B15C99F2C0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843556" y="7759411"/>
            <a:ext cx="1376629" cy="447616"/>
          </a:xfrm>
          <a:prstGeom prst="rect">
            <a:avLst/>
          </a:prstGeom>
        </p:spPr>
      </p:pic>
      <p:pic>
        <p:nvPicPr>
          <p:cNvPr id="37" name="Graphic 36" descr="Badge 6 with solid fill">
            <a:extLst>
              <a:ext uri="{FF2B5EF4-FFF2-40B4-BE49-F238E27FC236}">
                <a16:creationId xmlns:a16="http://schemas.microsoft.com/office/drawing/2014/main" id="{D74F613D-0D1C-12A3-F171-F6D67DB06E3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1922" y="8338775"/>
            <a:ext cx="804606" cy="804606"/>
          </a:xfrm>
          <a:prstGeom prst="rect">
            <a:avLst/>
          </a:prstGeom>
        </p:spPr>
      </p:pic>
      <p:pic>
        <p:nvPicPr>
          <p:cNvPr id="38" name="Graphic 37" descr="Badge 5 with solid fill">
            <a:extLst>
              <a:ext uri="{FF2B5EF4-FFF2-40B4-BE49-F238E27FC236}">
                <a16:creationId xmlns:a16="http://schemas.microsoft.com/office/drawing/2014/main" id="{0782742A-5824-C0A6-2108-EFCF24382CD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1922" y="7626858"/>
            <a:ext cx="804606" cy="804606"/>
          </a:xfrm>
          <a:prstGeom prst="rect">
            <a:avLst/>
          </a:prstGeom>
        </p:spPr>
      </p:pic>
      <p:pic>
        <p:nvPicPr>
          <p:cNvPr id="39" name="Graphic 38" descr="Badge 4 with solid fill">
            <a:extLst>
              <a:ext uri="{FF2B5EF4-FFF2-40B4-BE49-F238E27FC236}">
                <a16:creationId xmlns:a16="http://schemas.microsoft.com/office/drawing/2014/main" id="{C2153121-459E-DBE4-CD79-230B0F87466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8245" y="6819846"/>
            <a:ext cx="804606" cy="804606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ACF2A1B8-2DB0-DA83-2850-D2CB50BF1E89}"/>
              </a:ext>
            </a:extLst>
          </p:cNvPr>
          <p:cNvSpPr/>
          <p:nvPr/>
        </p:nvSpPr>
        <p:spPr>
          <a:xfrm>
            <a:off x="307111" y="6394927"/>
            <a:ext cx="4321021" cy="1996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spcAft>
                <a:spcPts val="800"/>
              </a:spcAft>
            </a:pPr>
            <a:r>
              <a:rPr lang="en-US" sz="1067" i="1" dirty="0">
                <a:solidFill>
                  <a:schemeClr val="tx1"/>
                </a:solidFill>
                <a:cs typeface="Arial" panose="020B0604020202020204" pitchFamily="34" charset="0"/>
              </a:rPr>
              <a:t>You can also go straight to workday.geaerospace.com</a:t>
            </a:r>
            <a:endParaRPr lang="sv-SE" sz="1067" i="1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>
              <a:spcAft>
                <a:spcPts val="800"/>
              </a:spcAft>
            </a:pPr>
            <a:endParaRPr lang="en-US" sz="1067" i="1" dirty="0">
              <a:solidFill>
                <a:schemeClr val="tx1"/>
              </a:solidFill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10B350C-E40A-C26B-21EC-7EA5E2388671}"/>
              </a:ext>
            </a:extLst>
          </p:cNvPr>
          <p:cNvGrpSpPr/>
          <p:nvPr/>
        </p:nvGrpSpPr>
        <p:grpSpPr>
          <a:xfrm>
            <a:off x="349891" y="4592973"/>
            <a:ext cx="6412495" cy="2033154"/>
            <a:chOff x="349891" y="4592973"/>
            <a:chExt cx="6412495" cy="2033154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DBFBB2C6-D92E-4906-3F68-3E2D220348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349891" y="4617111"/>
              <a:ext cx="6233046" cy="1713234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2CC80232-7498-86AE-F2BE-FAEB33CE9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5342537" y="5813984"/>
              <a:ext cx="1419849" cy="812143"/>
            </a:xfrm>
            <a:prstGeom prst="rect">
              <a:avLst/>
            </a:prstGeom>
          </p:spPr>
        </p:pic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7EEF55F0-6248-AA02-A161-1B33B091EF79}"/>
                </a:ext>
              </a:extLst>
            </p:cNvPr>
            <p:cNvSpPr/>
            <p:nvPr/>
          </p:nvSpPr>
          <p:spPr>
            <a:xfrm>
              <a:off x="4652877" y="5584603"/>
              <a:ext cx="332457" cy="347116"/>
            </a:xfrm>
            <a:prstGeom prst="ellipse">
              <a:avLst/>
            </a:prstGeom>
            <a:solidFill>
              <a:srgbClr val="00003C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spcAft>
                  <a:spcPts val="800"/>
                </a:spcAft>
              </a:pPr>
              <a:r>
                <a:rPr lang="en-US" sz="12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F857960C-6DD7-988A-943D-97C854D36FA8}"/>
                </a:ext>
              </a:extLst>
            </p:cNvPr>
            <p:cNvSpPr/>
            <p:nvPr/>
          </p:nvSpPr>
          <p:spPr>
            <a:xfrm>
              <a:off x="5597579" y="4592973"/>
              <a:ext cx="332457" cy="347116"/>
            </a:xfrm>
            <a:prstGeom prst="ellipse">
              <a:avLst/>
            </a:prstGeom>
            <a:solidFill>
              <a:srgbClr val="00003C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spcAft>
                  <a:spcPts val="800"/>
                </a:spcAft>
              </a:pPr>
              <a:r>
                <a:rPr lang="en-US" sz="1200" b="1" dirty="0">
                  <a:solidFill>
                    <a:schemeClr val="bg1"/>
                  </a:solidFill>
                </a:rPr>
                <a:t>6</a:t>
              </a: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796E3EB8-3A7F-79C5-6E44-4D3C84717FB5}"/>
                </a:ext>
              </a:extLst>
            </p:cNvPr>
            <p:cNvSpPr/>
            <p:nvPr/>
          </p:nvSpPr>
          <p:spPr>
            <a:xfrm>
              <a:off x="6250480" y="6127323"/>
              <a:ext cx="332457" cy="347116"/>
            </a:xfrm>
            <a:prstGeom prst="ellipse">
              <a:avLst/>
            </a:prstGeom>
            <a:solidFill>
              <a:srgbClr val="00003C">
                <a:alpha val="5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spcAft>
                  <a:spcPts val="800"/>
                </a:spcAft>
              </a:pPr>
              <a:r>
                <a:rPr lang="en-US" sz="1200" b="1" dirty="0">
                  <a:solidFill>
                    <a:schemeClr val="bg1"/>
                  </a:solidFill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409950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E Aerospace">
  <a:themeElements>
    <a:clrScheme name="GE Aerospace">
      <a:dk1>
        <a:srgbClr val="000000"/>
      </a:dk1>
      <a:lt1>
        <a:srgbClr val="FFFFFF"/>
      </a:lt1>
      <a:dk2>
        <a:srgbClr val="00003C"/>
      </a:dk2>
      <a:lt2>
        <a:srgbClr val="EAEAEA"/>
      </a:lt2>
      <a:accent1>
        <a:srgbClr val="00003C"/>
      </a:accent1>
      <a:accent2>
        <a:srgbClr val="FFFFFF"/>
      </a:accent2>
      <a:accent3>
        <a:srgbClr val="EAEAEA"/>
      </a:accent3>
      <a:accent4>
        <a:srgbClr val="0AD64F"/>
      </a:accent4>
      <a:accent5>
        <a:srgbClr val="4181FF"/>
      </a:accent5>
      <a:accent6>
        <a:srgbClr val="969696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t" anchorCtr="0"/>
      <a:lstStyle>
        <a:defPPr algn="l">
          <a:spcAft>
            <a:spcPts val="600"/>
          </a:spcAft>
          <a:defRPr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Aft>
            <a:spcPts val="600"/>
          </a:spcAft>
          <a:defRPr/>
        </a:defPPr>
      </a:lstStyle>
    </a:txDef>
  </a:objectDefaults>
  <a:extraClrSchemeLst/>
  <a:custClrLst>
    <a:custClr name="Stainless Steel">
      <a:srgbClr val="D2D2D2"/>
    </a:custClr>
    <a:custClr name="Aluminum">
      <a:srgbClr val="AEAEAE"/>
    </a:custClr>
    <a:custClr name="Titanium">
      <a:srgbClr val="969696"/>
    </a:custClr>
    <a:custClr name="Yellow">
      <a:srgbClr val="FFD400"/>
    </a:custClr>
    <a:custClr name="Orange">
      <a:srgbClr val="FF8400"/>
    </a:custClr>
    <a:custClr name="Red">
      <a:srgbClr val="FF1900"/>
    </a:custClr>
    <a:custClr name="Purple">
      <a:srgbClr val="8F00FF"/>
    </a:custClr>
    <a:custClr name="Fuschia">
      <a:srgbClr val="DE00F7"/>
    </a:custClr>
    <a:custClr name="Blue">
      <a:srgbClr val="3900F8"/>
    </a:custClr>
    <a:custClr name="Teal">
      <a:srgbClr val="00D0E1"/>
    </a:custClr>
  </a:custClrLst>
  <a:extLst>
    <a:ext uri="{05A4C25C-085E-4340-85A3-A5531E510DB2}">
      <thm15:themeFamily xmlns:thm15="http://schemas.microsoft.com/office/thememl/2012/main" name="Presentation4" id="{77138258-1F32-CC4F-AD00-276CC45CAEF4}" vid="{6B3F7B16-E948-6A48-9477-92E28E9819E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 Template_GE Aerospace_221201</Template>
  <TotalTime>29717</TotalTime>
  <Words>137</Words>
  <Application>Microsoft Office PowerPoint</Application>
  <PresentationFormat>Letter Paper (8.5x11 in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Rasa</vt:lpstr>
      <vt:lpstr>System Font Regular</vt:lpstr>
      <vt:lpstr>GE Aerospace</vt:lpstr>
      <vt:lpstr>think-cell Slid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1 blue slide titles may be 2 lines</dc:title>
  <dc:subject/>
  <dc:creator>Hayes, Gretchen (GE Aerospace, US)</dc:creator>
  <cp:keywords/>
  <dc:description/>
  <cp:lastModifiedBy>Kito, Ann (GE Aerospace, US)</cp:lastModifiedBy>
  <cp:revision>851</cp:revision>
  <cp:lastPrinted>2024-01-03T17:34:28Z</cp:lastPrinted>
  <dcterms:created xsi:type="dcterms:W3CDTF">2023-09-19T15:18:16Z</dcterms:created>
  <dcterms:modified xsi:type="dcterms:W3CDTF">2024-12-19T20:49:26Z</dcterms:modified>
  <cp:category/>
</cp:coreProperties>
</file>